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notesSlides/notesSlide2.xml" ContentType="application/vnd.openxmlformats-officedocument.presentationml.notesSlide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charts/chart13.xml" ContentType="application/vnd.openxmlformats-officedocument.drawingml.chart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41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tags/tag112.xml" ContentType="application/vnd.openxmlformats-officedocument.presentationml.tags+xml"/>
  <Override PartName="/ppt/tags/tag123.xml" ContentType="application/vnd.openxmlformats-officedocument.presentationml.tags+xml"/>
  <Default Extension="png" ContentType="image/png"/>
  <Override PartName="/ppt/drawings/drawing3.xml" ContentType="application/vnd.openxmlformats-officedocument.drawingml.chartshapes+xml"/>
  <Override PartName="/ppt/diagrams/drawing3.xml" ContentType="application/vnd.ms-office.drawingml.diagramDrawing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ppt/charts/chart14.xml" ContentType="application/vnd.openxmlformats-officedocument.drawingml.char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charts/chart8.xml" ContentType="application/vnd.openxmlformats-officedocument.drawingml.char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charts/chart10.xml" ContentType="application/vnd.openxmlformats-officedocument.drawingml.chart+xml"/>
  <Override PartName="/ppt/diagrams/layout2.xml" ContentType="application/vnd.openxmlformats-officedocument.drawingml.diagramLayout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35.xml" ContentType="application/vnd.openxmlformats-officedocument.presentationml.tags+xml"/>
  <Override PartName="/ppt/charts/chart4.xml" ContentType="application/vnd.openxmlformats-officedocument.drawingml.chart+xml"/>
  <Override PartName="/ppt/drawings/drawing8.xml" ContentType="application/vnd.openxmlformats-officedocument.drawingml.chartshapes+xml"/>
  <Override PartName="/ppt/diagrams/data3.xml" ContentType="application/vnd.openxmlformats-officedocument.drawingml.diagramData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ppt/tags/tag142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drawings/drawing4.xml" ContentType="application/vnd.openxmlformats-officedocument.drawingml.chartshape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charts/chart15.xml" ContentType="application/vnd.openxmlformats-officedocument.drawingml.char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drawings/drawing9.xml" ContentType="application/vnd.openxmlformats-officedocument.drawingml.chartshapes+xml"/>
  <Override PartName="/ppt/diagrams/layout3.xml" ContentType="application/vnd.openxmlformats-officedocument.drawingml.diagramLayout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charts/chart1.xml" ContentType="application/vnd.openxmlformats-officedocument.drawingml.chart+xml"/>
  <Override PartName="/ppt/drawings/drawing5.xml" ContentType="application/vnd.openxmlformats-officedocument.drawingml.chartshapes+xml"/>
  <Override PartName="/ppt/notesSlides/notesSlide5.xml" ContentType="application/vnd.openxmlformats-officedocument.presentationml.notesSlide+xml"/>
  <Override PartName="/ppt/slides/slide28.xml" ContentType="application/vnd.openxmlformats-officedocument.presentationml.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drawings/drawing1.xml" ContentType="application/vnd.openxmlformats-officedocument.drawingml.chartshapes+xml"/>
  <Override PartName="/ppt/diagrams/drawing1.xml" ContentType="application/vnd.ms-office.drawingml.diagramDrawing+xml"/>
  <Override PartName="/ppt/slides/slide24.xml" ContentType="application/vnd.openxmlformats-officedocument.presentationml.slide+xml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Default Extension="jpeg" ContentType="image/jpeg"/>
  <Override PartName="/ppt/charts/chart16.xml" ContentType="application/vnd.openxmlformats-officedocument.drawingml.chart+xml"/>
  <Override PartName="/ppt/diagrams/quickStyle1.xml" ContentType="application/vnd.openxmlformats-officedocument.drawingml.diagramStyle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charts/chart12.xml" ContentType="application/vnd.openxmlformats-officedocument.drawingml.char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charts/chart6.xml" ContentType="application/vnd.openxmlformats-officedocument.drawingml.chart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charts/chart2.xml" ContentType="application/vnd.openxmlformats-officedocument.drawingml.chart+xml"/>
  <Override PartName="/ppt/drawings/drawing6.xml" ContentType="application/vnd.openxmlformats-officedocument.drawingml.chartshape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slides/slide29.xml" ContentType="application/vnd.openxmlformats-officedocument.presentationml.slide+xml"/>
  <Override PartName="/ppt/tags/tag122.xml" ContentType="application/vnd.openxmlformats-officedocument.presentationml.tags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drawings/drawing2.xml" ContentType="application/vnd.openxmlformats-officedocument.drawingml.chartshapes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charts/chart17.xml" ContentType="application/vnd.openxmlformats-officedocument.drawingml.chart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charts/chart7.xml" ContentType="application/vnd.openxmlformats-officedocument.drawingml.chart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drawings/drawing7.xml" ContentType="application/vnd.openxmlformats-officedocument.drawingml.chartshape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Default Extension="bin" ContentType="application/vnd.openxmlformats-officedocument.oleObject"/>
  <Override PartName="/ppt/tags/tag141.xml" ContentType="application/vnd.openxmlformats-officedocument.presentationml.tags+xml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tags/tag13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62" r:id="rId1"/>
  </p:sldMasterIdLst>
  <p:notesMasterIdLst>
    <p:notesMasterId r:id="rId32"/>
  </p:notesMasterIdLst>
  <p:handoutMasterIdLst>
    <p:handoutMasterId r:id="rId33"/>
  </p:handoutMasterIdLst>
  <p:sldIdLst>
    <p:sldId id="327" r:id="rId2"/>
    <p:sldId id="416" r:id="rId3"/>
    <p:sldId id="417" r:id="rId4"/>
    <p:sldId id="387" r:id="rId5"/>
    <p:sldId id="418" r:id="rId6"/>
    <p:sldId id="419" r:id="rId7"/>
    <p:sldId id="420" r:id="rId8"/>
    <p:sldId id="421" r:id="rId9"/>
    <p:sldId id="422" r:id="rId10"/>
    <p:sldId id="423" r:id="rId11"/>
    <p:sldId id="424" r:id="rId12"/>
    <p:sldId id="425" r:id="rId13"/>
    <p:sldId id="426" r:id="rId14"/>
    <p:sldId id="427" r:id="rId15"/>
    <p:sldId id="428" r:id="rId16"/>
    <p:sldId id="429" r:id="rId17"/>
    <p:sldId id="430" r:id="rId18"/>
    <p:sldId id="431" r:id="rId19"/>
    <p:sldId id="432" r:id="rId20"/>
    <p:sldId id="433" r:id="rId21"/>
    <p:sldId id="434" r:id="rId22"/>
    <p:sldId id="435" r:id="rId23"/>
    <p:sldId id="436" r:id="rId24"/>
    <p:sldId id="437" r:id="rId25"/>
    <p:sldId id="438" r:id="rId26"/>
    <p:sldId id="439" r:id="rId27"/>
    <p:sldId id="440" r:id="rId28"/>
    <p:sldId id="441" r:id="rId29"/>
    <p:sldId id="442" r:id="rId30"/>
    <p:sldId id="413" r:id="rId31"/>
  </p:sldIdLst>
  <p:sldSz cx="9144000" cy="6858000" type="screen4x3"/>
  <p:notesSz cx="6797675" cy="9926638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FF99"/>
    <a:srgbClr val="D0D0D0"/>
    <a:srgbClr val="86DCAD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E171933-4619-4E11-9A3F-F7608DF75F80}" styleName="Средний стиль 1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83272" autoAdjust="0"/>
  </p:normalViewPr>
  <p:slideViewPr>
    <p:cSldViewPr>
      <p:cViewPr varScale="1">
        <p:scale>
          <a:sx n="73" d="100"/>
          <a:sy n="73" d="100"/>
        </p:scale>
        <p:origin x="-1714" y="-67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317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73"/>
    </p:cViewPr>
  </p:sorterViewPr>
  <p:notesViewPr>
    <p:cSldViewPr>
      <p:cViewPr varScale="1">
        <p:scale>
          <a:sx n="19" d="100"/>
          <a:sy n="19" d="100"/>
        </p:scale>
        <p:origin x="-610" y="-82"/>
      </p:cViewPr>
      <p:guideLst>
        <p:guide orient="horz" pos="3127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0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_____Microsoft_Office_Excel11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8.xml"/><Relationship Id="rId1" Type="http://schemas.openxmlformats.org/officeDocument/2006/relationships/package" Target="../embeddings/_____Microsoft_Office_Excel12.xlsx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9.xml"/><Relationship Id="rId1" Type="http://schemas.openxmlformats.org/officeDocument/2006/relationships/package" Target="../embeddings/_____Microsoft_Office_Excel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7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Office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_____Microsoft_Office_Excel7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_____Microsoft_Office_Excel8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____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6"/>
  <c:chart>
    <c:plotArea>
      <c:layout>
        <c:manualLayout>
          <c:layoutTarget val="inner"/>
          <c:xMode val="edge"/>
          <c:yMode val="edge"/>
          <c:x val="2.4154604853971588E-2"/>
          <c:y val="1.4470977524027141E-2"/>
          <c:w val="0.96604938271604934"/>
          <c:h val="0.74815216120856487"/>
        </c:manualLayout>
      </c:layout>
      <c:bar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Консолидированный бюджет</c:v>
                </c:pt>
              </c:strCache>
            </c:strRef>
          </c:tx>
          <c:dLbls>
            <c:spPr>
              <a:noFill/>
              <a:ln w="25354">
                <a:noFill/>
              </a:ln>
            </c:spPr>
            <c:txPr>
              <a:bodyPr/>
              <a:lstStyle/>
              <a:p>
                <a:pPr>
                  <a:defRPr sz="1400" b="1"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Val val="1"/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824.4</c:v>
                </c:pt>
                <c:pt idx="1">
                  <c:v>896.3</c:v>
                </c:pt>
                <c:pt idx="2">
                  <c:v>942.3</c:v>
                </c:pt>
                <c:pt idx="3">
                  <c:v>1270.5999999999999</c:v>
                </c:pt>
                <c:pt idx="4">
                  <c:v>1164.5999999999999</c:v>
                </c:pt>
                <c:pt idx="5">
                  <c:v>1225.400000000000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Муниципальный район</c:v>
                </c:pt>
              </c:strCache>
            </c:strRef>
          </c:tx>
          <c:spPr>
            <a:solidFill>
              <a:srgbClr val="FFFF00"/>
            </a:solidFill>
            <a:ln>
              <a:solidFill>
                <a:schemeClr val="accent2">
                  <a:lumMod val="75000"/>
                </a:schemeClr>
              </a:solidFill>
            </a:ln>
          </c:spPr>
          <c:dLbls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Val val="1"/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</c:numCache>
            </c:num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741.6</c:v>
                </c:pt>
                <c:pt idx="1">
                  <c:v>815.5</c:v>
                </c:pt>
                <c:pt idx="2">
                  <c:v>865.8</c:v>
                </c:pt>
                <c:pt idx="3">
                  <c:v>1137.9000000000001</c:v>
                </c:pt>
                <c:pt idx="4">
                  <c:v>1239.5</c:v>
                </c:pt>
                <c:pt idx="5">
                  <c:v>1200.5</c:v>
                </c:pt>
              </c:numCache>
            </c:numRef>
          </c:val>
        </c:ser>
        <c:overlap val="100"/>
        <c:axId val="132227456"/>
        <c:axId val="132228992"/>
      </c:barChart>
      <c:catAx>
        <c:axId val="132227456"/>
        <c:scaling>
          <c:orientation val="minMax"/>
        </c:scaling>
        <c:axPos val="b"/>
        <c:numFmt formatCode="General" sourceLinked="0"/>
        <c:tickLblPos val="nextTo"/>
        <c:txPr>
          <a:bodyPr/>
          <a:lstStyle/>
          <a:p>
            <a:pPr>
              <a:defRPr sz="1397" b="1" i="0"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132228992"/>
        <c:crosses val="autoZero"/>
        <c:auto val="1"/>
        <c:lblAlgn val="ctr"/>
        <c:lblOffset val="100"/>
      </c:catAx>
      <c:valAx>
        <c:axId val="132228992"/>
        <c:scaling>
          <c:orientation val="minMax"/>
        </c:scaling>
        <c:delete val="1"/>
        <c:axPos val="l"/>
        <c:numFmt formatCode="General" sourceLinked="1"/>
        <c:tickLblPos val="none"/>
        <c:crossAx val="132227456"/>
        <c:crosses val="autoZero"/>
        <c:crossBetween val="between"/>
      </c:valAx>
      <c:spPr>
        <a:noFill/>
        <a:ln w="25354">
          <a:noFill/>
        </a:ln>
      </c:spPr>
    </c:plotArea>
    <c:legend>
      <c:legendPos val="b"/>
      <c:layout/>
      <c:txPr>
        <a:bodyPr/>
        <a:lstStyle/>
        <a:p>
          <a:pPr>
            <a:defRPr b="1">
              <a:latin typeface="Times New Roman" panose="02020603050405020304" pitchFamily="18" charset="0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</c:chart>
  <c:txPr>
    <a:bodyPr/>
    <a:lstStyle/>
    <a:p>
      <a:pPr>
        <a:defRPr sz="1797"/>
      </a:pPr>
      <a:endParaRPr lang="ru-RU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Консолидированный бюджет</c:v>
                </c:pt>
              </c:strCache>
            </c:strRef>
          </c:tx>
          <c:dLbls>
            <c:txPr>
              <a:bodyPr/>
              <a:lstStyle/>
              <a:p>
                <a:pPr>
                  <a:defRPr sz="1000"/>
                </a:pPr>
                <a:endParaRPr lang="ru-RU"/>
              </a:p>
            </c:txPr>
            <c:dLblPos val="ctr"/>
            <c:showVal val="1"/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</c:numCache>
            </c:numRef>
          </c:cat>
          <c:val>
            <c:numRef>
              <c:f>Лист1!$B$2:$B$7</c:f>
              <c:numCache>
                <c:formatCode>0.0</c:formatCode>
                <c:ptCount val="6"/>
                <c:pt idx="0">
                  <c:v>825404.6</c:v>
                </c:pt>
                <c:pt idx="1">
                  <c:v>904366</c:v>
                </c:pt>
                <c:pt idx="2">
                  <c:v>920341.3</c:v>
                </c:pt>
                <c:pt idx="3">
                  <c:v>1128607.6000000001</c:v>
                </c:pt>
                <c:pt idx="4">
                  <c:v>1245441.1000000001</c:v>
                </c:pt>
                <c:pt idx="5">
                  <c:v>1209798.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Бюджет Константиновского района</c:v>
                </c:pt>
              </c:strCache>
            </c:strRef>
          </c:tx>
          <c:dLbls>
            <c:txPr>
              <a:bodyPr/>
              <a:lstStyle/>
              <a:p>
                <a:pPr>
                  <a:defRPr sz="1000"/>
                </a:pPr>
                <a:endParaRPr lang="ru-RU"/>
              </a:p>
            </c:txPr>
            <c:dLblPos val="inBase"/>
            <c:showVal val="1"/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</c:numCache>
            </c:numRef>
          </c:cat>
          <c:val>
            <c:numRef>
              <c:f>Лист1!$C$2:$C$7</c:f>
              <c:numCache>
                <c:formatCode>0.0</c:formatCode>
                <c:ptCount val="6"/>
                <c:pt idx="0">
                  <c:v>741795.8</c:v>
                </c:pt>
                <c:pt idx="1">
                  <c:v>824601.8</c:v>
                </c:pt>
                <c:pt idx="2">
                  <c:v>842892.4</c:v>
                </c:pt>
                <c:pt idx="3">
                  <c:v>1017159.1</c:v>
                </c:pt>
                <c:pt idx="4">
                  <c:v>1311131.8</c:v>
                </c:pt>
                <c:pt idx="5">
                  <c:v>1187766.5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Бюджеты поселений</c:v>
                </c:pt>
              </c:strCache>
            </c:strRef>
          </c:tx>
          <c:dLbls>
            <c:numFmt formatCode="#,##0.0" sourceLinked="0"/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Val val="1"/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</c:numCache>
            </c:numRef>
          </c:cat>
          <c:val>
            <c:numRef>
              <c:f>Лист1!$D$2:$D$7</c:f>
              <c:numCache>
                <c:formatCode>0.0</c:formatCode>
                <c:ptCount val="6"/>
                <c:pt idx="0">
                  <c:v>151471.9</c:v>
                </c:pt>
                <c:pt idx="1">
                  <c:v>109399.4</c:v>
                </c:pt>
                <c:pt idx="2">
                  <c:v>135152.20000000001</c:v>
                </c:pt>
                <c:pt idx="3">
                  <c:v>223365.5</c:v>
                </c:pt>
                <c:pt idx="4">
                  <c:v>322627.40000000002</c:v>
                </c:pt>
                <c:pt idx="5">
                  <c:v>274601.2</c:v>
                </c:pt>
              </c:numCache>
            </c:numRef>
          </c:val>
        </c:ser>
        <c:axId val="136099712"/>
        <c:axId val="136101248"/>
      </c:barChart>
      <c:catAx>
        <c:axId val="136099712"/>
        <c:scaling>
          <c:orientation val="minMax"/>
        </c:scaling>
        <c:axPos val="l"/>
        <c:numFmt formatCode="General" sourceLinked="0"/>
        <c:majorTickMark val="none"/>
        <c:tickLblPos val="nextTo"/>
        <c:txPr>
          <a:bodyPr rot="-60000000" vert="horz"/>
          <a:lstStyle/>
          <a:p>
            <a:pPr>
              <a:defRPr sz="1400"/>
            </a:pPr>
            <a:endParaRPr lang="ru-RU"/>
          </a:p>
        </c:txPr>
        <c:crossAx val="136101248"/>
        <c:crossesAt val="10"/>
        <c:auto val="1"/>
        <c:lblAlgn val="ctr"/>
        <c:lblOffset val="100"/>
      </c:catAx>
      <c:valAx>
        <c:axId val="136101248"/>
        <c:scaling>
          <c:logBase val="10"/>
          <c:orientation val="minMax"/>
          <c:max val="1000000"/>
          <c:min val="1"/>
        </c:scaling>
        <c:axPos val="b"/>
        <c:majorGridlines/>
        <c:numFmt formatCode="0.0" sourceLinked="1"/>
        <c:tickLblPos val="none"/>
        <c:crossAx val="136099712"/>
        <c:crosses val="autoZero"/>
        <c:crossBetween val="between"/>
        <c:majorUnit val="1000000"/>
        <c:minorUnit val="100000"/>
      </c:valAx>
    </c:plotArea>
    <c:legend>
      <c:legendPos val="r"/>
      <c:txPr>
        <a:bodyPr/>
        <a:lstStyle/>
        <a:p>
          <a:pPr>
            <a:defRPr sz="1200"/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rotY val="180"/>
      <c:perspective val="0"/>
    </c:view3D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3"/>
          <c:dPt>
            <c:idx val="0"/>
            <c:explosion val="28"/>
          </c:dPt>
          <c:dLbls>
            <c:dLbl>
              <c:idx val="2"/>
              <c:layout>
                <c:manualLayout>
                  <c:x val="-1.6302334197851064E-2"/>
                  <c:y val="3.9751552795031057E-2"/>
                </c:manualLayout>
              </c:layout>
              <c:dLblPos val="bestFit"/>
              <c:showLegendKey val="1"/>
              <c:showVal val="1"/>
              <c:showPercent val="1"/>
            </c:dLbl>
            <c:txPr>
              <a:bodyPr/>
              <a:lstStyle/>
              <a:p>
                <a:pPr>
                  <a:defRPr sz="1000"/>
                </a:pPr>
                <a:endParaRPr lang="ru-RU"/>
              </a:p>
            </c:txPr>
            <c:dLblPos val="outEnd"/>
            <c:showLegendKey val="1"/>
            <c:showVal val="1"/>
            <c:showPercent val="1"/>
          </c:dLbls>
          <c:cat>
            <c:strRef>
              <c:f>Лист1!$A$2:$A$13</c:f>
              <c:strCache>
                <c:ptCount val="12"/>
                <c:pt idx="0">
                  <c:v>Общегосударственные вопросы</c:v>
                </c:pt>
                <c:pt idx="1">
                  <c:v>Национальная оборона</c:v>
                </c:pt>
                <c:pt idx="2">
                  <c:v>Национальная безопасность и правоохранительная деятельность</c:v>
                </c:pt>
                <c:pt idx="3">
                  <c:v>Национальная экономика</c:v>
                </c:pt>
                <c:pt idx="4">
                  <c:v>Жилищно-коммунальное хозяйство</c:v>
                </c:pt>
                <c:pt idx="5">
                  <c:v>Охрана окружающей среды</c:v>
                </c:pt>
                <c:pt idx="6">
                  <c:v>Образование</c:v>
                </c:pt>
                <c:pt idx="7">
                  <c:v>Культура. кинематография</c:v>
                </c:pt>
                <c:pt idx="8">
                  <c:v>Здравоохранение</c:v>
                </c:pt>
                <c:pt idx="9">
                  <c:v>Социальная политика</c:v>
                </c:pt>
                <c:pt idx="10">
                  <c:v>Физическая культура и спорт</c:v>
                </c:pt>
                <c:pt idx="11">
                  <c:v>Средства массовой информации</c:v>
                </c:pt>
              </c:strCache>
            </c:strRef>
          </c:cat>
          <c:val>
            <c:numRef>
              <c:f>Лист1!$B$2:$B$13</c:f>
              <c:numCache>
                <c:formatCode>General</c:formatCode>
                <c:ptCount val="12"/>
                <c:pt idx="0">
                  <c:v>121772.7</c:v>
                </c:pt>
                <c:pt idx="1">
                  <c:v>809.4</c:v>
                </c:pt>
                <c:pt idx="2">
                  <c:v>5653.5</c:v>
                </c:pt>
                <c:pt idx="3">
                  <c:v>127908.6</c:v>
                </c:pt>
                <c:pt idx="4">
                  <c:v>76486.600000000006</c:v>
                </c:pt>
                <c:pt idx="5">
                  <c:v>799.6</c:v>
                </c:pt>
                <c:pt idx="6">
                  <c:v>460292.8</c:v>
                </c:pt>
                <c:pt idx="7">
                  <c:v>91432.8</c:v>
                </c:pt>
                <c:pt idx="8">
                  <c:v>8574.9</c:v>
                </c:pt>
                <c:pt idx="9">
                  <c:v>311448.2</c:v>
                </c:pt>
                <c:pt idx="10">
                  <c:v>4119.1000000000004</c:v>
                </c:pt>
                <c:pt idx="11">
                  <c:v>500</c:v>
                </c:pt>
              </c:numCache>
            </c:numRef>
          </c:val>
        </c:ser>
        <c:dLbls>
          <c:showPercent val="1"/>
        </c:dLbls>
      </c:pie3DChart>
      <c:spPr>
        <a:noFill/>
        <a:ln w="25369">
          <a:noFill/>
        </a:ln>
      </c:spPr>
    </c:plotArea>
    <c:legend>
      <c:legendPos val="r"/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zero"/>
  </c:chart>
  <c:txPr>
    <a:bodyPr/>
    <a:lstStyle/>
    <a:p>
      <a:pPr>
        <a:defRPr sz="1798"/>
      </a:pPr>
      <a:endParaRPr lang="ru-RU"/>
    </a:p>
  </c:txPr>
  <c:externalData r:id="rId1"/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37"/>
  <c:chart>
    <c:autoTitleDeleted val="1"/>
    <c:view3D>
      <c:rotX val="30"/>
      <c:rotY val="180"/>
      <c:perspective val="0"/>
    </c:view3D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3"/>
          <c:dPt>
            <c:idx val="0"/>
            <c:explosion val="28"/>
          </c:dPt>
          <c:dLbls>
            <c:dLbl>
              <c:idx val="2"/>
              <c:layout>
                <c:manualLayout>
                  <c:x val="-1.6302334197851071E-2"/>
                  <c:y val="3.9751552795031057E-2"/>
                </c:manualLayout>
              </c:layout>
              <c:dLblPos val="bestFit"/>
              <c:showLegendKey val="1"/>
              <c:showVal val="1"/>
              <c:showPercent val="1"/>
            </c:dLbl>
            <c:dLbl>
              <c:idx val="10"/>
              <c:layout>
                <c:manualLayout>
                  <c:x val="0.10818821785846608"/>
                  <c:y val="4.9689440993788823E-2"/>
                </c:manualLayout>
              </c:layout>
              <c:dLblPos val="bestFit"/>
              <c:showLegendKey val="1"/>
              <c:showVal val="1"/>
              <c:showPercent val="1"/>
            </c:dLbl>
            <c:dLbl>
              <c:idx val="11"/>
              <c:layout>
                <c:manualLayout>
                  <c:x val="0"/>
                  <c:y val="6.4596273291925507E-2"/>
                </c:manualLayout>
              </c:layout>
              <c:dLblPos val="bestFit"/>
              <c:showLegendKey val="1"/>
              <c:showVal val="1"/>
              <c:showPercent val="1"/>
            </c:dLbl>
            <c:txPr>
              <a:bodyPr/>
              <a:lstStyle/>
              <a:p>
                <a:pPr>
                  <a:defRPr sz="1000"/>
                </a:pPr>
                <a:endParaRPr lang="ru-RU"/>
              </a:p>
            </c:txPr>
            <c:dLblPos val="outEnd"/>
            <c:showLegendKey val="1"/>
            <c:showVal val="1"/>
            <c:showPercent val="1"/>
          </c:dLbls>
          <c:cat>
            <c:strRef>
              <c:f>Лист1!$A$2:$A$12</c:f>
              <c:strCache>
                <c:ptCount val="11"/>
                <c:pt idx="0">
                  <c:v>Общегосударственные вопросы</c:v>
                </c:pt>
                <c:pt idx="1">
                  <c:v>Национальная безопасность и правоохранительная деятельность</c:v>
                </c:pt>
                <c:pt idx="2">
                  <c:v>Национальная экономика</c:v>
                </c:pt>
                <c:pt idx="3">
                  <c:v>Жилищно-коммунальное хозяйство</c:v>
                </c:pt>
                <c:pt idx="4">
                  <c:v>Охрана окружающей среды</c:v>
                </c:pt>
                <c:pt idx="5">
                  <c:v>Образование</c:v>
                </c:pt>
                <c:pt idx="6">
                  <c:v>Культура, кинематография</c:v>
                </c:pt>
                <c:pt idx="7">
                  <c:v>Здравоохранение</c:v>
                </c:pt>
                <c:pt idx="8">
                  <c:v>Социальная политика</c:v>
                </c:pt>
                <c:pt idx="9">
                  <c:v>Физическая культура и спорт</c:v>
                </c:pt>
                <c:pt idx="10">
                  <c:v>Средства массовой информации</c:v>
                </c:pt>
              </c:strCache>
            </c:strRef>
          </c:cat>
          <c:val>
            <c:numRef>
              <c:f>Лист1!$B$2:$B$12</c:f>
              <c:numCache>
                <c:formatCode>General</c:formatCode>
                <c:ptCount val="11"/>
                <c:pt idx="0">
                  <c:v>73865.7</c:v>
                </c:pt>
                <c:pt idx="1">
                  <c:v>4510.3</c:v>
                </c:pt>
                <c:pt idx="2">
                  <c:v>222224.3</c:v>
                </c:pt>
                <c:pt idx="3">
                  <c:v>43979.1</c:v>
                </c:pt>
                <c:pt idx="4">
                  <c:v>799.6</c:v>
                </c:pt>
                <c:pt idx="5">
                  <c:v>460158.9</c:v>
                </c:pt>
                <c:pt idx="6">
                  <c:v>58410.5</c:v>
                </c:pt>
                <c:pt idx="7">
                  <c:v>8574.9</c:v>
                </c:pt>
                <c:pt idx="8">
                  <c:v>310669.3</c:v>
                </c:pt>
                <c:pt idx="9">
                  <c:v>4073.9</c:v>
                </c:pt>
                <c:pt idx="10">
                  <c:v>500</c:v>
                </c:pt>
              </c:numCache>
            </c:numRef>
          </c:val>
        </c:ser>
        <c:dLbls>
          <c:showPercent val="1"/>
        </c:dLbls>
      </c:pie3DChart>
    </c:plotArea>
    <c:legend>
      <c:legendPos val="r"/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4"/>
  <c:chart>
    <c:autoTitleDeleted val="1"/>
    <c:plotArea>
      <c:layout>
        <c:manualLayout>
          <c:layoutTarget val="inner"/>
          <c:xMode val="edge"/>
          <c:yMode val="edge"/>
          <c:x val="2.1664561621860267E-2"/>
          <c:y val="4.5234536492288119E-2"/>
          <c:w val="0.96822530962127162"/>
          <c:h val="0.84147457465415854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cat>
            <c:numRef>
              <c:f>Лист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Лист1!$B$2:$B$3</c:f>
              <c:numCache>
                <c:formatCode>0.0</c:formatCode>
                <c:ptCount val="2"/>
                <c:pt idx="0">
                  <c:v>1311131.8</c:v>
                </c:pt>
                <c:pt idx="1">
                  <c:v>1187766.5</c:v>
                </c:pt>
              </c:numCache>
            </c:numRef>
          </c:val>
        </c:ser>
        <c:dLbls>
          <c:showVal val="1"/>
        </c:dLbls>
        <c:gapWidth val="75"/>
        <c:axId val="152477696"/>
        <c:axId val="152479232"/>
      </c:barChart>
      <c:catAx>
        <c:axId val="152477696"/>
        <c:scaling>
          <c:orientation val="minMax"/>
        </c:scaling>
        <c:axPos val="b"/>
        <c:numFmt formatCode="General" sourceLinked="1"/>
        <c:majorTickMark val="none"/>
        <c:tickLblPos val="nextTo"/>
        <c:crossAx val="152479232"/>
        <c:crosses val="autoZero"/>
        <c:auto val="1"/>
        <c:lblAlgn val="ctr"/>
        <c:lblOffset val="100"/>
      </c:catAx>
      <c:valAx>
        <c:axId val="152479232"/>
        <c:scaling>
          <c:orientation val="minMax"/>
        </c:scaling>
        <c:delete val="1"/>
        <c:axPos val="l"/>
        <c:numFmt formatCode="0.0" sourceLinked="1"/>
        <c:majorTickMark val="none"/>
        <c:tickLblPos val="none"/>
        <c:crossAx val="152477696"/>
        <c:crosses val="autoZero"/>
        <c:crossBetween val="between"/>
      </c:valAx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18"/>
  <c:chart>
    <c:autoTitleDeleted val="1"/>
    <c:view3D>
      <c:rotX val="30"/>
      <c:rotY val="280"/>
      <c:perspective val="0"/>
    </c:view3D>
    <c:plotArea>
      <c:layout>
        <c:manualLayout>
          <c:layoutTarget val="inner"/>
          <c:xMode val="edge"/>
          <c:yMode val="edge"/>
          <c:x val="3.4747180868792353E-2"/>
          <c:y val="0.18578982677138453"/>
          <c:w val="0.53937212994852357"/>
          <c:h val="0.67967127584114684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6"/>
          <c:dLbls>
            <c:txPr>
              <a:bodyPr/>
              <a:lstStyle/>
              <a:p>
                <a:pPr>
                  <a:defRPr sz="1000" b="0"/>
                </a:pPr>
                <a:endParaRPr lang="ru-RU"/>
              </a:p>
            </c:txPr>
            <c:dLblPos val="bestFit"/>
            <c:showVal val="1"/>
            <c:showPercent val="1"/>
          </c:dLbls>
          <c:cat>
            <c:strRef>
              <c:f>Лист1!$A$2:$A$7</c:f>
              <c:strCache>
                <c:ptCount val="6"/>
                <c:pt idx="0">
                  <c:v>Общее образование</c:v>
                </c:pt>
                <c:pt idx="1">
                  <c:v>Дошкольное образование</c:v>
                </c:pt>
                <c:pt idx="2">
                  <c:v>Дополнительное образование детей</c:v>
                </c:pt>
                <c:pt idx="3">
                  <c:v>Профессиональная подготовка. переподготовка и повышение квалификации</c:v>
                </c:pt>
                <c:pt idx="4">
                  <c:v>Молодежная политика и оздоровление детей</c:v>
                </c:pt>
                <c:pt idx="5">
                  <c:v>Другие вопросы в области образования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265606.5</c:v>
                </c:pt>
                <c:pt idx="1">
                  <c:v>131824.70000000001</c:v>
                </c:pt>
                <c:pt idx="2">
                  <c:v>43664.2</c:v>
                </c:pt>
                <c:pt idx="3">
                  <c:v>211.4</c:v>
                </c:pt>
                <c:pt idx="4">
                  <c:v>8662</c:v>
                </c:pt>
                <c:pt idx="5">
                  <c:v>10323.9</c:v>
                </c:pt>
              </c:numCache>
            </c:numRef>
          </c:val>
        </c:ser>
      </c:pie3DChart>
      <c:spPr>
        <a:noFill/>
        <a:ln w="25354">
          <a:noFill/>
        </a:ln>
      </c:spPr>
    </c:plotArea>
    <c:legend>
      <c:legendPos val="r"/>
      <c:layout>
        <c:manualLayout>
          <c:xMode val="edge"/>
          <c:yMode val="edge"/>
          <c:x val="0.61180600147077369"/>
          <c:y val="9.0475260840328835E-4"/>
          <c:w val="0.38819399852922698"/>
          <c:h val="0.95920977852975042"/>
        </c:manualLayout>
      </c:layout>
      <c:overlay val="1"/>
      <c:txPr>
        <a:bodyPr/>
        <a:lstStyle/>
        <a:p>
          <a:pPr algn="just">
            <a:spcBef>
              <a:spcPts val="0"/>
            </a:spcBef>
            <a:defRPr sz="1100" b="1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  <c:dispBlanksAs val="zero"/>
  </c:chart>
  <c:txPr>
    <a:bodyPr/>
    <a:lstStyle/>
    <a:p>
      <a:pPr>
        <a:defRPr sz="1797"/>
      </a:pPr>
      <a:endParaRPr lang="ru-RU"/>
    </a:p>
  </c:txPr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4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7</c:v>
                </c:pt>
              </c:strCache>
            </c:strRef>
          </c:tx>
          <c:dLbls>
            <c:txPr>
              <a:bodyPr/>
              <a:lstStyle/>
              <a:p>
                <a:pPr>
                  <a:defRPr sz="1000"/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Пенсионное обеспечение</c:v>
                </c:pt>
                <c:pt idx="1">
                  <c:v>Социальное обслуживание населения</c:v>
                </c:pt>
                <c:pt idx="2">
                  <c:v>Социальное обеспечение населения</c:v>
                </c:pt>
                <c:pt idx="3">
                  <c:v>Охрана семьи и детства</c:v>
                </c:pt>
                <c:pt idx="4">
                  <c:v>Другие вопросы в области социальной политики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3851</c:v>
                </c:pt>
                <c:pt idx="1">
                  <c:v>56868.1</c:v>
                </c:pt>
                <c:pt idx="2">
                  <c:v>140440.5</c:v>
                </c:pt>
                <c:pt idx="3">
                  <c:v>70283.3</c:v>
                </c:pt>
                <c:pt idx="4">
                  <c:v>12729.6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8</c:v>
                </c:pt>
              </c:strCache>
            </c:strRef>
          </c:tx>
          <c:dLbls>
            <c:txPr>
              <a:bodyPr/>
              <a:lstStyle/>
              <a:p>
                <a:pPr>
                  <a:defRPr sz="1000"/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Пенсионное обеспечение</c:v>
                </c:pt>
                <c:pt idx="1">
                  <c:v>Социальное обслуживание населения</c:v>
                </c:pt>
                <c:pt idx="2">
                  <c:v>Социальное обеспечение населения</c:v>
                </c:pt>
                <c:pt idx="3">
                  <c:v>Охрана семьи и детства</c:v>
                </c:pt>
                <c:pt idx="4">
                  <c:v>Другие вопросы в области социальной политики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3998.3</c:v>
                </c:pt>
                <c:pt idx="1">
                  <c:v>77267.899999999994</c:v>
                </c:pt>
                <c:pt idx="2">
                  <c:v>143882.20000000001</c:v>
                </c:pt>
                <c:pt idx="3">
                  <c:v>74309.8</c:v>
                </c:pt>
                <c:pt idx="4">
                  <c:v>11990</c:v>
                </c:pt>
              </c:numCache>
            </c:numRef>
          </c:val>
        </c:ser>
        <c:axId val="152382848"/>
        <c:axId val="152384640"/>
      </c:barChart>
      <c:catAx>
        <c:axId val="152382848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1400"/>
            </a:pPr>
            <a:endParaRPr lang="ru-RU"/>
          </a:p>
        </c:txPr>
        <c:crossAx val="152384640"/>
        <c:crosses val="autoZero"/>
        <c:auto val="1"/>
        <c:lblAlgn val="ctr"/>
        <c:lblOffset val="100"/>
      </c:catAx>
      <c:valAx>
        <c:axId val="152384640"/>
        <c:scaling>
          <c:orientation val="minMax"/>
        </c:scaling>
        <c:axPos val="l"/>
        <c:majorGridlines/>
        <c:numFmt formatCode="General" sourceLinked="1"/>
        <c:majorTickMark val="none"/>
        <c:tickLblPos val="none"/>
        <c:crossAx val="152382848"/>
        <c:crosses val="autoZero"/>
        <c:crossBetween val="between"/>
      </c:valAx>
    </c:plotArea>
    <c:legend>
      <c:legendPos val="r"/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3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Lbls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Пенсионное обеспечение</c:v>
                </c:pt>
                <c:pt idx="1">
                  <c:v>Социальное обслуживание населения</c:v>
                </c:pt>
                <c:pt idx="2">
                  <c:v>Социальное обеспечение населения</c:v>
                </c:pt>
                <c:pt idx="3">
                  <c:v>Охрана семьи и детства</c:v>
                </c:pt>
                <c:pt idx="4">
                  <c:v>Другие вопросы в области социальной политики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3998.3</c:v>
                </c:pt>
                <c:pt idx="1">
                  <c:v>77267.899999999994</c:v>
                </c:pt>
                <c:pt idx="2">
                  <c:v>143882.20000000001</c:v>
                </c:pt>
                <c:pt idx="3">
                  <c:v>74309.8</c:v>
                </c:pt>
                <c:pt idx="4">
                  <c:v>11990</c:v>
                </c:pt>
              </c:numCache>
            </c:numRef>
          </c:val>
        </c:ser>
        <c:axId val="153231744"/>
        <c:axId val="153233280"/>
      </c:barChart>
      <c:catAx>
        <c:axId val="153231744"/>
        <c:scaling>
          <c:orientation val="minMax"/>
        </c:scaling>
        <c:axPos val="b"/>
        <c:numFmt formatCode="General" sourceLinked="1"/>
        <c:majorTickMark val="none"/>
        <c:tickLblPos val="nextTo"/>
        <c:crossAx val="153233280"/>
        <c:crosses val="autoZero"/>
        <c:auto val="1"/>
        <c:lblAlgn val="ctr"/>
        <c:lblOffset val="100"/>
      </c:catAx>
      <c:valAx>
        <c:axId val="153233280"/>
        <c:scaling>
          <c:orientation val="minMax"/>
        </c:scaling>
        <c:axPos val="l"/>
        <c:majorGridlines/>
        <c:numFmt formatCode="General" sourceLinked="1"/>
        <c:majorTickMark val="none"/>
        <c:tickLblPos val="none"/>
        <c:crossAx val="153231744"/>
        <c:crosses val="autoZero"/>
        <c:crossBetween val="between"/>
      </c:valAx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13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Lbls>
            <c:showVal val="1"/>
          </c:dLbls>
          <c:cat>
            <c:strRef>
              <c:f>Лист1!$A$2:$A$3</c:f>
              <c:strCache>
                <c:ptCount val="2"/>
                <c:pt idx="0">
                  <c:v>2017 год (факт)</c:v>
                </c:pt>
                <c:pt idx="1">
                  <c:v>2018 год (факт)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78810.8</c:v>
                </c:pt>
                <c:pt idx="1">
                  <c:v>91432.8</c:v>
                </c:pt>
              </c:numCache>
            </c:numRef>
          </c:val>
        </c:ser>
        <c:axId val="153290624"/>
        <c:axId val="153292160"/>
      </c:barChart>
      <c:catAx>
        <c:axId val="153290624"/>
        <c:scaling>
          <c:orientation val="minMax"/>
        </c:scaling>
        <c:axPos val="b"/>
        <c:numFmt formatCode="General" sourceLinked="1"/>
        <c:majorTickMark val="none"/>
        <c:tickLblPos val="nextTo"/>
        <c:crossAx val="153292160"/>
        <c:crosses val="autoZero"/>
        <c:auto val="1"/>
        <c:lblAlgn val="ctr"/>
        <c:lblOffset val="100"/>
      </c:catAx>
      <c:valAx>
        <c:axId val="153292160"/>
        <c:scaling>
          <c:orientation val="minMax"/>
        </c:scaling>
        <c:axPos val="l"/>
        <c:majorGridlines/>
        <c:numFmt formatCode="General" sourceLinked="1"/>
        <c:majorTickMark val="none"/>
        <c:tickLblPos val="none"/>
        <c:crossAx val="153290624"/>
        <c:crosses val="autoZero"/>
        <c:crossBetween val="between"/>
      </c:valAx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7</c:v>
                </c:pt>
              </c:strCache>
            </c:strRef>
          </c:tx>
          <c:dLbls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Val val="1"/>
          </c:dLbls>
          <c:cat>
            <c:strRef>
              <c:f>Лист1!$A$2:$A$4</c:f>
              <c:strCache>
                <c:ptCount val="3"/>
                <c:pt idx="0">
                  <c:v>Всего доходов</c:v>
                </c:pt>
                <c:pt idx="1">
                  <c:v>Налоговые и неналоговые доходы</c:v>
                </c:pt>
                <c:pt idx="2">
                  <c:v>Безвозмездные поступления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239.5</c:v>
                </c:pt>
                <c:pt idx="1">
                  <c:v>151.4</c:v>
                </c:pt>
                <c:pt idx="2">
                  <c:v>1088.099999999999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8</c:v>
                </c:pt>
              </c:strCache>
            </c:strRef>
          </c:tx>
          <c:dLbls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Val val="1"/>
          </c:dLbls>
          <c:cat>
            <c:strRef>
              <c:f>Лист1!$A$2:$A$4</c:f>
              <c:strCache>
                <c:ptCount val="3"/>
                <c:pt idx="0">
                  <c:v>Всего доходов</c:v>
                </c:pt>
                <c:pt idx="1">
                  <c:v>Налоговые и неналоговые доходы</c:v>
                </c:pt>
                <c:pt idx="2">
                  <c:v>Безвозмездные поступления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1200.5</c:v>
                </c:pt>
                <c:pt idx="1">
                  <c:v>161.30000000000001</c:v>
                </c:pt>
                <c:pt idx="2">
                  <c:v>1039.2</c:v>
                </c:pt>
              </c:numCache>
            </c:numRef>
          </c:val>
        </c:ser>
        <c:axId val="132586496"/>
        <c:axId val="132588288"/>
      </c:barChart>
      <c:catAx>
        <c:axId val="132586496"/>
        <c:scaling>
          <c:orientation val="minMax"/>
        </c:scaling>
        <c:axPos val="b"/>
        <c:numFmt formatCode="General" sourceLinked="0"/>
        <c:majorTickMark val="none"/>
        <c:tickLblPos val="nextTo"/>
        <c:crossAx val="132588288"/>
        <c:crosses val="autoZero"/>
        <c:auto val="1"/>
        <c:lblAlgn val="ctr"/>
        <c:lblOffset val="100"/>
      </c:catAx>
      <c:valAx>
        <c:axId val="132588288"/>
        <c:scaling>
          <c:orientation val="minMax"/>
        </c:scaling>
        <c:axPos val="l"/>
        <c:majorGridlines/>
        <c:numFmt formatCode="General" sourceLinked="1"/>
        <c:majorTickMark val="none"/>
        <c:tickLblPos val="none"/>
        <c:crossAx val="132586496"/>
        <c:crosses val="autoZero"/>
        <c:crossBetween val="between"/>
      </c:valAx>
      <c:dTable>
        <c:showHorzBorder val="1"/>
        <c:showVertBorder val="1"/>
        <c:showOutline val="1"/>
        <c:showKeys val="1"/>
      </c:dTable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depthPercent val="100"/>
      <c:rAngAx val="1"/>
    </c:view3D>
    <c:floor>
      <c:spPr>
        <a:noFill/>
        <a:ln w="9525">
          <a:noFill/>
        </a:ln>
      </c:spPr>
    </c:floor>
    <c:plotArea>
      <c:layout>
        <c:manualLayout>
          <c:layoutTarget val="inner"/>
          <c:xMode val="edge"/>
          <c:yMode val="edge"/>
          <c:x val="1.4946550194987775E-2"/>
          <c:y val="3.1161141360742141E-2"/>
          <c:w val="0.54374160874780453"/>
          <c:h val="0.77139379672582165"/>
        </c:manualLayout>
      </c:layout>
      <c:bar3D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</c:spPr>
          <c:dLbls>
            <c:dLbl>
              <c:idx val="0"/>
              <c:layout>
                <c:manualLayout>
                  <c:x val="7.473841554559049E-3"/>
                  <c:y val="-0.32346383257613093"/>
                </c:manualLayout>
              </c:layout>
              <c:showVal val="1"/>
            </c:dLbl>
            <c:dLbl>
              <c:idx val="2"/>
              <c:layout>
                <c:manualLayout>
                  <c:x val="1.7937219730941704E-2"/>
                  <c:y val="-0.35657430362723136"/>
                </c:manualLayout>
              </c:layout>
              <c:showVal val="1"/>
            </c:dLbl>
            <c:showVal val="1"/>
          </c:dLbls>
          <c:cat>
            <c:strRef>
              <c:f>Лист1!$A$2:$A$4</c:f>
              <c:strCache>
                <c:ptCount val="3"/>
                <c:pt idx="0">
                  <c:v>факт 2017</c:v>
                </c:pt>
                <c:pt idx="2">
                  <c:v>факт 2018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40.2</c:v>
                </c:pt>
                <c:pt idx="2">
                  <c:v>262.39999999999981</c:v>
                </c:pt>
              </c:numCache>
            </c:numRef>
          </c:val>
        </c:ser>
        <c:shape val="cylinder"/>
        <c:axId val="133097728"/>
        <c:axId val="133115904"/>
        <c:axId val="0"/>
      </c:bar3DChart>
      <c:catAx>
        <c:axId val="133097728"/>
        <c:scaling>
          <c:orientation val="minMax"/>
        </c:scaling>
        <c:axPos val="b"/>
        <c:numFmt formatCode="General" sourceLinked="0"/>
        <c:tickLblPos val="nextTo"/>
        <c:txPr>
          <a:bodyPr/>
          <a:lstStyle/>
          <a:p>
            <a:pPr>
              <a:defRPr b="1"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133115904"/>
        <c:crosses val="autoZero"/>
        <c:auto val="1"/>
        <c:lblAlgn val="ctr"/>
        <c:lblOffset val="100"/>
      </c:catAx>
      <c:valAx>
        <c:axId val="133115904"/>
        <c:scaling>
          <c:orientation val="minMax"/>
          <c:min val="0"/>
        </c:scaling>
        <c:delete val="1"/>
        <c:axPos val="l"/>
        <c:numFmt formatCode="General" sourceLinked="1"/>
        <c:tickLblPos val="none"/>
        <c:crossAx val="133097728"/>
        <c:crosses val="autoZero"/>
        <c:crossBetween val="between"/>
      </c:valAx>
      <c:spPr>
        <a:noFill/>
        <a:ln w="25356">
          <a:noFill/>
        </a:ln>
      </c:spPr>
    </c:plotArea>
    <c:plotVisOnly val="1"/>
    <c:dispBlanksAs val="gap"/>
  </c:chart>
  <c:txPr>
    <a:bodyPr/>
    <a:lstStyle/>
    <a:p>
      <a:pPr>
        <a:defRPr sz="1797"/>
      </a:pPr>
      <a:endParaRPr lang="ru-RU"/>
    </a:p>
  </c:txPr>
  <c:externalData r:id="rId1"/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5"/>
  <c:chart>
    <c:autoTitleDeleted val="1"/>
    <c:view3D>
      <c:depthPercent val="100"/>
      <c:rAngAx val="1"/>
    </c:view3D>
    <c:plotArea>
      <c:layout/>
      <c:bar3D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Lbls>
            <c:dLbl>
              <c:idx val="0"/>
              <c:layout>
                <c:manualLayout>
                  <c:x val="2.9895366218236186E-2"/>
                  <c:y val="-0.40751348985969288"/>
                </c:manualLayout>
              </c:layout>
              <c:showVal val="1"/>
            </c:dLbl>
            <c:dLbl>
              <c:idx val="2"/>
              <c:layout>
                <c:manualLayout>
                  <c:x val="2.0926756352765311E-2"/>
                  <c:y val="-0.38968477467833135"/>
                </c:manualLayout>
              </c:layout>
              <c:showVal val="1"/>
            </c:dLbl>
            <c:showVal val="1"/>
          </c:dLbls>
          <c:cat>
            <c:strRef>
              <c:f>Лист1!$A$2:$A$4</c:f>
              <c:strCache>
                <c:ptCount val="3"/>
                <c:pt idx="0">
                  <c:v>факт 2017</c:v>
                </c:pt>
                <c:pt idx="2">
                  <c:v>факт 2018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51.4</c:v>
                </c:pt>
                <c:pt idx="2">
                  <c:v>161.30000000000001</c:v>
                </c:pt>
              </c:numCache>
            </c:numRef>
          </c:val>
        </c:ser>
        <c:gapWidth val="75"/>
        <c:shape val="cylinder"/>
        <c:axId val="133166208"/>
        <c:axId val="133167744"/>
        <c:axId val="0"/>
      </c:bar3DChart>
      <c:catAx>
        <c:axId val="133166208"/>
        <c:scaling>
          <c:orientation val="minMax"/>
        </c:scaling>
        <c:axPos val="b"/>
        <c:numFmt formatCode="General" sourceLinked="0"/>
        <c:majorTickMark val="none"/>
        <c:tickLblPos val="nextTo"/>
        <c:crossAx val="133167744"/>
        <c:crosses val="autoZero"/>
        <c:auto val="1"/>
        <c:lblAlgn val="ctr"/>
        <c:lblOffset val="100"/>
      </c:catAx>
      <c:valAx>
        <c:axId val="133167744"/>
        <c:scaling>
          <c:orientation val="minMax"/>
          <c:min val="0"/>
        </c:scaling>
        <c:axPos val="l"/>
        <c:majorGridlines/>
        <c:numFmt formatCode="General" sourceLinked="1"/>
        <c:majorTickMark val="none"/>
        <c:tickLblPos val="none"/>
        <c:spPr>
          <a:ln w="9525">
            <a:noFill/>
          </a:ln>
        </c:spPr>
        <c:crossAx val="133166208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rotY val="180"/>
      <c:perspective val="0"/>
    </c:view3D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3"/>
          <c:dPt>
            <c:idx val="0"/>
            <c:explosion val="28"/>
          </c:dPt>
          <c:dLbls>
            <c:numFmt formatCode="General" sourceLinked="0"/>
            <c:txPr>
              <a:bodyPr/>
              <a:lstStyle/>
              <a:p>
                <a:pPr>
                  <a:defRPr sz="1400"/>
                </a:pPr>
                <a:endParaRPr lang="ru-RU"/>
              </a:p>
            </c:txPr>
            <c:showVal val="1"/>
            <c:showCatName val="1"/>
            <c:showPercent val="1"/>
          </c:dLbls>
          <c:cat>
            <c:strRef>
              <c:f>Лист1!$A$2:$A$6</c:f>
              <c:strCache>
                <c:ptCount val="5"/>
                <c:pt idx="0">
                  <c:v>Налог на доходы физических лиц </c:v>
                </c:pt>
                <c:pt idx="1">
                  <c:v>Акцизы на нефтепродукты</c:v>
                </c:pt>
                <c:pt idx="2">
                  <c:v>Налоги на совокупный доход</c:v>
                </c:pt>
                <c:pt idx="3">
                  <c:v>Государственная пошлина</c:v>
                </c:pt>
                <c:pt idx="4">
                  <c:v>Неналоговые доходы</c:v>
                </c:pt>
              </c:strCache>
            </c:strRef>
          </c:cat>
          <c:val>
            <c:numRef>
              <c:f>Лист1!$B$2:$B$6</c:f>
              <c:numCache>
                <c:formatCode>#,##0.0</c:formatCode>
                <c:ptCount val="5"/>
                <c:pt idx="0">
                  <c:v>80.099999999999994</c:v>
                </c:pt>
                <c:pt idx="1">
                  <c:v>7.2</c:v>
                </c:pt>
                <c:pt idx="2">
                  <c:v>31</c:v>
                </c:pt>
                <c:pt idx="3">
                  <c:v>5</c:v>
                </c:pt>
                <c:pt idx="4">
                  <c:v>38</c:v>
                </c:pt>
              </c:numCache>
            </c:numRef>
          </c:val>
        </c:ser>
        <c:dLbls>
          <c:showCatName val="1"/>
        </c:dLbls>
      </c:pie3DChart>
      <c:spPr>
        <a:noFill/>
        <a:ln w="25369">
          <a:noFill/>
        </a:ln>
      </c:spPr>
    </c:plotArea>
    <c:plotVisOnly val="1"/>
    <c:dispBlanksAs val="zero"/>
  </c:chart>
  <c:txPr>
    <a:bodyPr/>
    <a:lstStyle/>
    <a:p>
      <a:pPr>
        <a:defRPr sz="1798"/>
      </a:pPr>
      <a:endParaRPr lang="ru-RU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12"/>
  <c:chart>
    <c:plotArea>
      <c:layout>
        <c:manualLayout>
          <c:layoutTarget val="inner"/>
          <c:xMode val="edge"/>
          <c:yMode val="edge"/>
          <c:x val="1.1358258400378608E-2"/>
          <c:y val="2.8533071300203251E-2"/>
          <c:w val="0.95835305253194514"/>
          <c:h val="0.79056929910971507"/>
        </c:manualLayout>
      </c:layout>
      <c:bar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2</c:v>
                </c:pt>
              </c:strCache>
            </c:strRef>
          </c:tx>
          <c:dLbls>
            <c:showVal val="1"/>
          </c:dLbls>
          <c:cat>
            <c:strRef>
              <c:f>Лист1!$A$2:$A$4</c:f>
              <c:strCache>
                <c:ptCount val="3"/>
                <c:pt idx="0">
                  <c:v>факт 2017</c:v>
                </c:pt>
                <c:pt idx="2">
                  <c:v>факт 2018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81.900000000000006</c:v>
                </c:pt>
                <c:pt idx="2">
                  <c:v>80.099999999999994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1</c:v>
                </c:pt>
              </c:strCache>
            </c:strRef>
          </c:tx>
          <c:cat>
            <c:strRef>
              <c:f>Лист1!$A$2:$A$4</c:f>
              <c:strCache>
                <c:ptCount val="3"/>
                <c:pt idx="0">
                  <c:v>факт 2017</c:v>
                </c:pt>
                <c:pt idx="2">
                  <c:v>факт 2018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</c:numCache>
            </c:numRef>
          </c:val>
        </c:ser>
        <c:gapWidth val="75"/>
        <c:overlap val="100"/>
        <c:axId val="134357760"/>
        <c:axId val="134359296"/>
      </c:barChart>
      <c:catAx>
        <c:axId val="134357760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 rot="-60000000" vert="horz"/>
          <a:lstStyle/>
          <a:p>
            <a:pPr>
              <a:defRPr/>
            </a:pPr>
            <a:endParaRPr lang="ru-RU"/>
          </a:p>
        </c:txPr>
        <c:crossAx val="134359296"/>
        <c:crosses val="autoZero"/>
        <c:auto val="1"/>
        <c:lblAlgn val="ctr"/>
        <c:lblOffset val="100"/>
      </c:catAx>
      <c:valAx>
        <c:axId val="134359296"/>
        <c:scaling>
          <c:orientation val="minMax"/>
        </c:scaling>
        <c:delete val="1"/>
        <c:axPos val="l"/>
        <c:numFmt formatCode="General" sourceLinked="1"/>
        <c:tickLblPos val="none"/>
        <c:crossAx val="134357760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18"/>
  <c:chart>
    <c:plotArea>
      <c:layout>
        <c:manualLayout>
          <c:layoutTarget val="inner"/>
          <c:xMode val="edge"/>
          <c:yMode val="edge"/>
          <c:x val="1.1358258400378608E-2"/>
          <c:y val="2.8533071300203251E-2"/>
          <c:w val="0.95835305253194514"/>
          <c:h val="0.79056929910971507"/>
        </c:manualLayout>
      </c:layout>
      <c:bar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2</c:v>
                </c:pt>
              </c:strCache>
            </c:strRef>
          </c:tx>
          <c:dLbls>
            <c:showVal val="1"/>
          </c:dLbls>
          <c:cat>
            <c:strRef>
              <c:f>Лист1!$A$2:$A$4</c:f>
              <c:strCache>
                <c:ptCount val="3"/>
                <c:pt idx="0">
                  <c:v>факт 2017</c:v>
                </c:pt>
                <c:pt idx="2">
                  <c:v>факт 2018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7.1</c:v>
                </c:pt>
                <c:pt idx="2">
                  <c:v>7.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1</c:v>
                </c:pt>
              </c:strCache>
            </c:strRef>
          </c:tx>
          <c:cat>
            <c:strRef>
              <c:f>Лист1!$A$2:$A$4</c:f>
              <c:strCache>
                <c:ptCount val="3"/>
                <c:pt idx="0">
                  <c:v>факт 2017</c:v>
                </c:pt>
                <c:pt idx="2">
                  <c:v>факт 2018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</c:numCache>
            </c:numRef>
          </c:val>
        </c:ser>
        <c:gapWidth val="75"/>
        <c:overlap val="100"/>
        <c:axId val="134466176"/>
        <c:axId val="134488448"/>
      </c:barChart>
      <c:catAx>
        <c:axId val="134466176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 rot="-60000000" vert="horz"/>
          <a:lstStyle/>
          <a:p>
            <a:pPr>
              <a:defRPr/>
            </a:pPr>
            <a:endParaRPr lang="ru-RU"/>
          </a:p>
        </c:txPr>
        <c:crossAx val="134488448"/>
        <c:crosses val="autoZero"/>
        <c:auto val="1"/>
        <c:lblAlgn val="ctr"/>
        <c:lblOffset val="100"/>
      </c:catAx>
      <c:valAx>
        <c:axId val="134488448"/>
        <c:scaling>
          <c:orientation val="minMax"/>
        </c:scaling>
        <c:delete val="1"/>
        <c:axPos val="l"/>
        <c:numFmt formatCode="General" sourceLinked="1"/>
        <c:tickLblPos val="none"/>
        <c:crossAx val="134466176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floor>
      <c:spPr>
        <a:noFill/>
        <a:ln w="9525">
          <a:noFill/>
        </a:ln>
      </c:spPr>
    </c:floor>
    <c:plotArea>
      <c:layout/>
      <c:bar3D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НДФЛ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</c:spPr>
          <c:dLbls>
            <c:dLbl>
              <c:idx val="0"/>
              <c:layout>
                <c:manualLayout>
                  <c:x val="1.9431988041853521E-2"/>
                  <c:y val="-0.33818627112493493"/>
                </c:manualLayout>
              </c:layout>
              <c:showVal val="1"/>
            </c:dLbl>
            <c:dLbl>
              <c:idx val="1"/>
              <c:layout>
                <c:manualLayout>
                  <c:x val="2.6905829596412571E-2"/>
                  <c:y val="-0.41515280179474751"/>
                </c:manualLayout>
              </c:layout>
              <c:showVal val="1"/>
            </c:dLbl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факт 2017</c:v>
                </c:pt>
                <c:pt idx="1">
                  <c:v>факт 2018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2.5</c:v>
                </c:pt>
                <c:pt idx="1">
                  <c:v>3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0</c:v>
                </c:pt>
              </c:strCache>
            </c:strRef>
          </c:tx>
          <c:dPt>
            <c:idx val="1"/>
            <c:spPr>
              <a:solidFill>
                <a:schemeClr val="accent3">
                  <a:lumMod val="75000"/>
                </a:schemeClr>
              </a:solidFill>
            </c:spPr>
          </c:dPt>
          <c:dPt>
            <c:idx val="2"/>
            <c:spPr>
              <a:solidFill>
                <a:schemeClr val="accent3">
                  <a:lumMod val="75000"/>
                </a:schemeClr>
              </a:solidFill>
            </c:spPr>
          </c:dPt>
          <c:dLbls>
            <c:delete val="1"/>
          </c:dLbls>
          <c:cat>
            <c:strRef>
              <c:f>Лист1!$A$2:$A$3</c:f>
              <c:strCache>
                <c:ptCount val="2"/>
                <c:pt idx="0">
                  <c:v>факт 2017</c:v>
                </c:pt>
                <c:pt idx="1">
                  <c:v>факт 2018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</c:ser>
        <c:dLbls>
          <c:showVal val="1"/>
        </c:dLbls>
        <c:gapWidth val="75"/>
        <c:shape val="cylinder"/>
        <c:axId val="134539520"/>
        <c:axId val="134561792"/>
        <c:axId val="0"/>
      </c:bar3DChart>
      <c:catAx>
        <c:axId val="134539520"/>
        <c:scaling>
          <c:orientation val="minMax"/>
        </c:scaling>
        <c:axPos val="b"/>
        <c:numFmt formatCode="General" sourceLinked="0"/>
        <c:majorTickMark val="none"/>
        <c:tickLblPos val="nextTo"/>
        <c:txPr>
          <a:bodyPr/>
          <a:lstStyle/>
          <a:p>
            <a:pPr>
              <a:defRPr b="1"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134561792"/>
        <c:crosses val="autoZero"/>
        <c:auto val="1"/>
        <c:lblAlgn val="ctr"/>
        <c:lblOffset val="100"/>
      </c:catAx>
      <c:valAx>
        <c:axId val="134561792"/>
        <c:scaling>
          <c:orientation val="minMax"/>
          <c:min val="0"/>
        </c:scaling>
        <c:axPos val="l"/>
        <c:numFmt formatCode="General" sourceLinked="1"/>
        <c:majorTickMark val="none"/>
        <c:tickLblPos val="none"/>
        <c:crossAx val="134539520"/>
        <c:crosses val="autoZero"/>
        <c:crossBetween val="between"/>
      </c:valAx>
      <c:spPr>
        <a:noFill/>
        <a:ln w="25356">
          <a:noFill/>
        </a:ln>
      </c:spPr>
    </c:plotArea>
    <c:plotVisOnly val="1"/>
    <c:dispBlanksAs val="gap"/>
  </c:chart>
  <c:txPr>
    <a:bodyPr/>
    <a:lstStyle/>
    <a:p>
      <a:pPr>
        <a:defRPr sz="1797"/>
      </a:pPr>
      <a:endParaRPr lang="ru-RU"/>
    </a:p>
  </c:txPr>
  <c:externalData r:id="rId1"/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4"/>
  <c:chart>
    <c:autoTitleDeleted val="1"/>
    <c:plotArea>
      <c:layout>
        <c:manualLayout>
          <c:layoutTarget val="inner"/>
          <c:xMode val="edge"/>
          <c:yMode val="edge"/>
          <c:x val="1.4443041081240173E-2"/>
          <c:y val="2.9079344887899532E-2"/>
          <c:w val="0.96822530962127162"/>
          <c:h val="0.84147457465415831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cat>
            <c:strRef>
              <c:f>Лист1!$A$2:$A$3</c:f>
              <c:strCache>
                <c:ptCount val="2"/>
                <c:pt idx="0">
                  <c:v>ФАКТ 2017</c:v>
                </c:pt>
                <c:pt idx="1">
                  <c:v>ФАКТ 2018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5.2</c:v>
                </c:pt>
                <c:pt idx="1">
                  <c:v>5</c:v>
                </c:pt>
              </c:numCache>
            </c:numRef>
          </c:val>
        </c:ser>
        <c:dLbls>
          <c:showVal val="1"/>
        </c:dLbls>
        <c:gapWidth val="75"/>
        <c:axId val="134634496"/>
        <c:axId val="134652672"/>
      </c:barChart>
      <c:catAx>
        <c:axId val="134634496"/>
        <c:scaling>
          <c:orientation val="minMax"/>
        </c:scaling>
        <c:axPos val="b"/>
        <c:majorTickMark val="none"/>
        <c:tickLblPos val="nextTo"/>
        <c:crossAx val="134652672"/>
        <c:crosses val="autoZero"/>
        <c:auto val="1"/>
        <c:lblAlgn val="ctr"/>
        <c:lblOffset val="100"/>
      </c:catAx>
      <c:valAx>
        <c:axId val="134652672"/>
        <c:scaling>
          <c:orientation val="minMax"/>
        </c:scaling>
        <c:delete val="1"/>
        <c:axPos val="l"/>
        <c:numFmt formatCode="General" sourceLinked="1"/>
        <c:majorTickMark val="none"/>
        <c:tickLblPos val="none"/>
        <c:crossAx val="134634496"/>
        <c:crosses val="autoZero"/>
        <c:crossBetween val="between"/>
      </c:valAx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CEB793C-BA73-4DDA-B457-ACE95F0FF1D2}" type="doc">
      <dgm:prSet loTypeId="urn:microsoft.com/office/officeart/2005/8/layout/hierarchy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78FB890-0315-4DCF-9652-DEBC531AADA7}">
      <dgm:prSet phldrT="[Текст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8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Муниципальный дорожный фонд Константиновского района</a:t>
          </a:r>
        </a:p>
      </dgm:t>
    </dgm:pt>
    <dgm:pt modelId="{5F717E07-1274-4627-8DC3-B95BF7BC659F}" type="parTrans" cxnId="{5D7B8A56-AEB8-43AC-B94C-642960D5EBA0}">
      <dgm:prSet/>
      <dgm:spPr/>
      <dgm:t>
        <a:bodyPr/>
        <a:lstStyle/>
        <a:p>
          <a:endParaRPr lang="ru-RU"/>
        </a:p>
      </dgm:t>
    </dgm:pt>
    <dgm:pt modelId="{CD24D3D8-FDC5-408C-9598-14632456E05E}" type="sibTrans" cxnId="{5D7B8A56-AEB8-43AC-B94C-642960D5EBA0}">
      <dgm:prSet/>
      <dgm:spPr/>
      <dgm:t>
        <a:bodyPr/>
        <a:lstStyle/>
        <a:p>
          <a:endParaRPr lang="ru-RU"/>
        </a:p>
      </dgm:t>
    </dgm:pt>
    <dgm:pt modelId="{9BED8A5D-251E-4654-BB39-9C80CA47F478}" type="pres">
      <dgm:prSet presAssocID="{ECEB793C-BA73-4DDA-B457-ACE95F0FF1D2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C311B4BB-492C-4300-820A-53C1CDC565FE}" type="pres">
      <dgm:prSet presAssocID="{978FB890-0315-4DCF-9652-DEBC531AADA7}" presName="root" presStyleCnt="0"/>
      <dgm:spPr/>
    </dgm:pt>
    <dgm:pt modelId="{477558AA-3A58-44E6-8F4F-BC719D6E8B68}" type="pres">
      <dgm:prSet presAssocID="{978FB890-0315-4DCF-9652-DEBC531AADA7}" presName="rootComposite" presStyleCnt="0"/>
      <dgm:spPr/>
    </dgm:pt>
    <dgm:pt modelId="{1EBFF326-EF71-408C-B977-CB44B2FAB52C}" type="pres">
      <dgm:prSet presAssocID="{978FB890-0315-4DCF-9652-DEBC531AADA7}" presName="rootText" presStyleLbl="node1" presStyleIdx="0" presStyleCnt="1" custScaleX="334604" custScaleY="48655" custLinFactY="-5199" custLinFactNeighborX="5559" custLinFactNeighborY="-100000"/>
      <dgm:spPr/>
      <dgm:t>
        <a:bodyPr/>
        <a:lstStyle/>
        <a:p>
          <a:endParaRPr lang="ru-RU"/>
        </a:p>
      </dgm:t>
    </dgm:pt>
    <dgm:pt modelId="{D3627F9E-0794-4358-B378-65C5EA4DEC21}" type="pres">
      <dgm:prSet presAssocID="{978FB890-0315-4DCF-9652-DEBC531AADA7}" presName="rootConnector" presStyleLbl="node1" presStyleIdx="0" presStyleCnt="1"/>
      <dgm:spPr/>
      <dgm:t>
        <a:bodyPr/>
        <a:lstStyle/>
        <a:p>
          <a:endParaRPr lang="ru-RU"/>
        </a:p>
      </dgm:t>
    </dgm:pt>
    <dgm:pt modelId="{3F20BC03-33B5-4796-AA65-19E4FE5E5D84}" type="pres">
      <dgm:prSet presAssocID="{978FB890-0315-4DCF-9652-DEBC531AADA7}" presName="childShape" presStyleCnt="0"/>
      <dgm:spPr/>
    </dgm:pt>
  </dgm:ptLst>
  <dgm:cxnLst>
    <dgm:cxn modelId="{5D7B8A56-AEB8-43AC-B94C-642960D5EBA0}" srcId="{ECEB793C-BA73-4DDA-B457-ACE95F0FF1D2}" destId="{978FB890-0315-4DCF-9652-DEBC531AADA7}" srcOrd="0" destOrd="0" parTransId="{5F717E07-1274-4627-8DC3-B95BF7BC659F}" sibTransId="{CD24D3D8-FDC5-408C-9598-14632456E05E}"/>
    <dgm:cxn modelId="{A8BCFED3-5F0A-4BD4-B2B9-3F026BDC0E7F}" type="presOf" srcId="{978FB890-0315-4DCF-9652-DEBC531AADA7}" destId="{D3627F9E-0794-4358-B378-65C5EA4DEC21}" srcOrd="1" destOrd="0" presId="urn:microsoft.com/office/officeart/2005/8/layout/hierarchy3"/>
    <dgm:cxn modelId="{B0E1AD91-A1E2-4467-9ADA-48A4C8E4DB49}" type="presOf" srcId="{978FB890-0315-4DCF-9652-DEBC531AADA7}" destId="{1EBFF326-EF71-408C-B977-CB44B2FAB52C}" srcOrd="0" destOrd="0" presId="urn:microsoft.com/office/officeart/2005/8/layout/hierarchy3"/>
    <dgm:cxn modelId="{10B41F98-C2FD-438D-8D60-E59FB33DB213}" type="presOf" srcId="{ECEB793C-BA73-4DDA-B457-ACE95F0FF1D2}" destId="{9BED8A5D-251E-4654-BB39-9C80CA47F478}" srcOrd="0" destOrd="0" presId="urn:microsoft.com/office/officeart/2005/8/layout/hierarchy3"/>
    <dgm:cxn modelId="{A3F1999C-B97B-4671-BD64-1EBEA96ABE59}" type="presParOf" srcId="{9BED8A5D-251E-4654-BB39-9C80CA47F478}" destId="{C311B4BB-492C-4300-820A-53C1CDC565FE}" srcOrd="0" destOrd="0" presId="urn:microsoft.com/office/officeart/2005/8/layout/hierarchy3"/>
    <dgm:cxn modelId="{BB8E0A9A-7A3E-45A1-A4AB-B08544A09BCA}" type="presParOf" srcId="{C311B4BB-492C-4300-820A-53C1CDC565FE}" destId="{477558AA-3A58-44E6-8F4F-BC719D6E8B68}" srcOrd="0" destOrd="0" presId="urn:microsoft.com/office/officeart/2005/8/layout/hierarchy3"/>
    <dgm:cxn modelId="{4BC6E6D8-8097-4281-83D6-02A94EA1B754}" type="presParOf" srcId="{477558AA-3A58-44E6-8F4F-BC719D6E8B68}" destId="{1EBFF326-EF71-408C-B977-CB44B2FAB52C}" srcOrd="0" destOrd="0" presId="urn:microsoft.com/office/officeart/2005/8/layout/hierarchy3"/>
    <dgm:cxn modelId="{4B79FF7A-6A8A-4DF4-88E8-F2027FE6F82B}" type="presParOf" srcId="{477558AA-3A58-44E6-8F4F-BC719D6E8B68}" destId="{D3627F9E-0794-4358-B378-65C5EA4DEC21}" srcOrd="1" destOrd="0" presId="urn:microsoft.com/office/officeart/2005/8/layout/hierarchy3"/>
    <dgm:cxn modelId="{2C4A1B0C-3708-4982-870C-B59D99F460AD}" type="presParOf" srcId="{C311B4BB-492C-4300-820A-53C1CDC565FE}" destId="{3F20BC03-33B5-4796-AA65-19E4FE5E5D84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2BECC97-E8B3-4374-9051-10CDDCD37BEC}" type="doc">
      <dgm:prSet loTypeId="urn:diagrams.loki3.com/VaryingWidthList+Icon" loCatId="list" qsTypeId="urn:microsoft.com/office/officeart/2005/8/quickstyle/simple1" qsCatId="simple" csTypeId="urn:microsoft.com/office/officeart/2005/8/colors/accent1_2" csCatId="accent1" phldr="1"/>
      <dgm:spPr/>
    </dgm:pt>
    <dgm:pt modelId="{1F577413-1797-4684-A633-D88D39D25373}">
      <dgm:prSet phldrT="[Текст]" custT="1">
        <dgm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sz="17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Расходы бюджета Константиновского района по разделу «Жилищно-коммунальное хозяйство» в 2018 году</a:t>
          </a:r>
        </a:p>
      </dgm:t>
    </dgm:pt>
    <dgm:pt modelId="{8128C05F-F05A-4FD7-9DBD-214050536E9A}" type="parTrans" cxnId="{3E508C81-E466-4329-A3BA-D508117BFEE4}">
      <dgm:prSet/>
      <dgm:spPr/>
      <dgm:t>
        <a:bodyPr/>
        <a:lstStyle/>
        <a:p>
          <a:endParaRPr lang="ru-RU"/>
        </a:p>
      </dgm:t>
    </dgm:pt>
    <dgm:pt modelId="{06CC6982-C56B-4278-9DF5-1BC74470E622}" type="sibTrans" cxnId="{3E508C81-E466-4329-A3BA-D508117BFEE4}">
      <dgm:prSet/>
      <dgm:spPr/>
      <dgm:t>
        <a:bodyPr/>
        <a:lstStyle/>
        <a:p>
          <a:endParaRPr lang="ru-RU"/>
        </a:p>
      </dgm:t>
    </dgm:pt>
    <dgm:pt modelId="{A666B6BC-D175-4980-9777-3E81EDD97944}" type="pres">
      <dgm:prSet presAssocID="{72BECC97-E8B3-4374-9051-10CDDCD37BEC}" presName="Name0" presStyleCnt="0">
        <dgm:presLayoutVars>
          <dgm:resizeHandles/>
        </dgm:presLayoutVars>
      </dgm:prSet>
      <dgm:spPr/>
    </dgm:pt>
    <dgm:pt modelId="{A6B53D4F-E6D4-40B4-BDDE-ECA83AF93C0C}" type="pres">
      <dgm:prSet presAssocID="{1F577413-1797-4684-A633-D88D39D25373}" presName="text" presStyleLbl="node1" presStyleIdx="0" presStyleCnt="1" custScaleX="279919" custScaleY="100000" custLinFactNeighborY="-152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E508C81-E466-4329-A3BA-D508117BFEE4}" srcId="{72BECC97-E8B3-4374-9051-10CDDCD37BEC}" destId="{1F577413-1797-4684-A633-D88D39D25373}" srcOrd="0" destOrd="0" parTransId="{8128C05F-F05A-4FD7-9DBD-214050536E9A}" sibTransId="{06CC6982-C56B-4278-9DF5-1BC74470E622}"/>
    <dgm:cxn modelId="{24C3AECE-3325-48CC-8B38-F11835600F80}" type="presOf" srcId="{1F577413-1797-4684-A633-D88D39D25373}" destId="{A6B53D4F-E6D4-40B4-BDDE-ECA83AF93C0C}" srcOrd="0" destOrd="0" presId="urn:diagrams.loki3.com/VaryingWidthList+Icon"/>
    <dgm:cxn modelId="{5AC946F9-2ACE-424D-AD29-1013317FE3DE}" type="presOf" srcId="{72BECC97-E8B3-4374-9051-10CDDCD37BEC}" destId="{A666B6BC-D175-4980-9777-3E81EDD97944}" srcOrd="0" destOrd="0" presId="urn:diagrams.loki3.com/VaryingWidthList+Icon"/>
    <dgm:cxn modelId="{54B6D90A-BD98-4CC9-932C-5FD8F5FDB165}" type="presParOf" srcId="{A666B6BC-D175-4980-9777-3E81EDD97944}" destId="{A6B53D4F-E6D4-40B4-BDDE-ECA83AF93C0C}" srcOrd="0" destOrd="0" presId="urn:diagrams.loki3.com/VaryingWidthList+Icon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2BECC97-E8B3-4374-9051-10CDDCD37BEC}" type="doc">
      <dgm:prSet loTypeId="urn:diagrams.loki3.com/VaryingWidthList+Icon" loCatId="list" qsTypeId="urn:microsoft.com/office/officeart/2005/8/quickstyle/simple1" qsCatId="simple" csTypeId="urn:microsoft.com/office/officeart/2005/8/colors/accent1_2" csCatId="accent1" phldr="1"/>
      <dgm:spPr/>
    </dgm:pt>
    <dgm:pt modelId="{1F577413-1797-4684-A633-D88D39D25373}">
      <dgm:prSet phldrT="[Текст]" custT="1">
        <dgm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sz="1700" b="1" dirty="0" smtClean="0"/>
            <a:t>Обеспечение жильем жителей Константиновского района в 2018 году 25102,7 тыс. рублей</a:t>
          </a:r>
          <a:endParaRPr lang="ru-RU" sz="1700" b="1" dirty="0" smtClean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8128C05F-F05A-4FD7-9DBD-214050536E9A}" type="parTrans" cxnId="{3E508C81-E466-4329-A3BA-D508117BFEE4}">
      <dgm:prSet/>
      <dgm:spPr/>
      <dgm:t>
        <a:bodyPr/>
        <a:lstStyle/>
        <a:p>
          <a:endParaRPr lang="ru-RU"/>
        </a:p>
      </dgm:t>
    </dgm:pt>
    <dgm:pt modelId="{06CC6982-C56B-4278-9DF5-1BC74470E622}" type="sibTrans" cxnId="{3E508C81-E466-4329-A3BA-D508117BFEE4}">
      <dgm:prSet/>
      <dgm:spPr/>
      <dgm:t>
        <a:bodyPr/>
        <a:lstStyle/>
        <a:p>
          <a:endParaRPr lang="ru-RU"/>
        </a:p>
      </dgm:t>
    </dgm:pt>
    <dgm:pt modelId="{A666B6BC-D175-4980-9777-3E81EDD97944}" type="pres">
      <dgm:prSet presAssocID="{72BECC97-E8B3-4374-9051-10CDDCD37BEC}" presName="Name0" presStyleCnt="0">
        <dgm:presLayoutVars>
          <dgm:resizeHandles/>
        </dgm:presLayoutVars>
      </dgm:prSet>
      <dgm:spPr/>
    </dgm:pt>
    <dgm:pt modelId="{A6B53D4F-E6D4-40B4-BDDE-ECA83AF93C0C}" type="pres">
      <dgm:prSet presAssocID="{1F577413-1797-4684-A633-D88D39D25373}" presName="text" presStyleLbl="node1" presStyleIdx="0" presStyleCnt="1" custScaleX="279919" custScaleY="100000" custLinFactNeighborY="-152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E508C81-E466-4329-A3BA-D508117BFEE4}" srcId="{72BECC97-E8B3-4374-9051-10CDDCD37BEC}" destId="{1F577413-1797-4684-A633-D88D39D25373}" srcOrd="0" destOrd="0" parTransId="{8128C05F-F05A-4FD7-9DBD-214050536E9A}" sibTransId="{06CC6982-C56B-4278-9DF5-1BC74470E622}"/>
    <dgm:cxn modelId="{BFBED046-10E3-4537-8B8E-07291378A62F}" type="presOf" srcId="{72BECC97-E8B3-4374-9051-10CDDCD37BEC}" destId="{A666B6BC-D175-4980-9777-3E81EDD97944}" srcOrd="0" destOrd="0" presId="urn:diagrams.loki3.com/VaryingWidthList+Icon"/>
    <dgm:cxn modelId="{8CAF909D-CDE0-4A6C-A0C0-5718A5126C05}" type="presOf" srcId="{1F577413-1797-4684-A633-D88D39D25373}" destId="{A6B53D4F-E6D4-40B4-BDDE-ECA83AF93C0C}" srcOrd="0" destOrd="0" presId="urn:diagrams.loki3.com/VaryingWidthList+Icon"/>
    <dgm:cxn modelId="{3CF1DC79-E794-4658-BE7A-5A74CB791C53}" type="presParOf" srcId="{A666B6BC-D175-4980-9777-3E81EDD97944}" destId="{A6B53D4F-E6D4-40B4-BDDE-ECA83AF93C0C}" srcOrd="0" destOrd="0" presId="urn:diagrams.loki3.com/VaryingWidthList+Icon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diagrams.loki3.com/VaryingWidthList+Icon">
  <dgm:title val="Список переменной ширины"/>
  <dgm:desc val="Служит для акцентирования внимания на элементах различной ширины. Хорошо подходит для размещения большого количества текста уровня 1. Ширина каждой фигуры определяется независимо с учетом количества текста в ней."/>
  <dgm:catLst>
    <dgm:cat type="list" pri="4160"/>
    <dgm:cat type="officeonline" pri="5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text" val="20"/>
      <dgm:constr type="h" for="ch" forName="text" refType="h"/>
      <dgm:constr type="primFontSz" for="ch" forName="text" op="equ" val="65"/>
      <dgm:constr type="h" for="ch" forName="space" refType="h" fact="0.05"/>
    </dgm:constrLst>
    <dgm:forEach name="Name1" axis="ch" ptType="node">
      <dgm:layoutNode name="text" styleLbl="node1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tMarg" refType="primFontSz" fact="0.2"/>
          <dgm:constr type="bMarg" refType="primFontSz" fact="0.2"/>
          <dgm:constr type="lMarg" refType="primFontSz" fact="0.2"/>
          <dgm:constr type="rMarg" refType="primFontSz" fact="0.2"/>
        </dgm:constrLst>
        <dgm:ruleLst>
          <dgm:rule type="w" val="INF" fact="NaN" max="NaN"/>
          <dgm:rule type="primFontSz" val="5" fact="NaN" max="NaN"/>
        </dgm:ruleLst>
      </dgm:layoutNode>
      <dgm:choose name="Name2">
        <dgm:if name="Name3" axis="par ch" ptType="doc node" func="cnt" op="gte" val="2">
          <dgm:forEach name="Name4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if>
        <dgm:else name="Name5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diagrams.loki3.com/VaryingWidthList+Icon">
  <dgm:title val="Список переменной ширины"/>
  <dgm:desc val="Служит для акцентирования внимания на элементах различной ширины. Хорошо подходит для размещения большого количества текста уровня 1. Ширина каждой фигуры определяется независимо с учетом количества текста в ней."/>
  <dgm:catLst>
    <dgm:cat type="list" pri="4160"/>
    <dgm:cat type="officeonline" pri="5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text" val="20"/>
      <dgm:constr type="h" for="ch" forName="text" refType="h"/>
      <dgm:constr type="primFontSz" for="ch" forName="text" op="equ" val="65"/>
      <dgm:constr type="h" for="ch" forName="space" refType="h" fact="0.05"/>
    </dgm:constrLst>
    <dgm:forEach name="Name1" axis="ch" ptType="node">
      <dgm:layoutNode name="text" styleLbl="node1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tMarg" refType="primFontSz" fact="0.2"/>
          <dgm:constr type="bMarg" refType="primFontSz" fact="0.2"/>
          <dgm:constr type="lMarg" refType="primFontSz" fact="0.2"/>
          <dgm:constr type="rMarg" refType="primFontSz" fact="0.2"/>
        </dgm:constrLst>
        <dgm:ruleLst>
          <dgm:rule type="w" val="INF" fact="NaN" max="NaN"/>
          <dgm:rule type="primFontSz" val="5" fact="NaN" max="NaN"/>
        </dgm:ruleLst>
      </dgm:layoutNode>
      <dgm:choose name="Name2">
        <dgm:if name="Name3" axis="par ch" ptType="doc node" func="cnt" op="gte" val="2">
          <dgm:forEach name="Name4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if>
        <dgm:else name="Name5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1695</cdr:x>
      <cdr:y>0.35374</cdr:y>
    </cdr:from>
    <cdr:to>
      <cdr:x>0.12712</cdr:x>
      <cdr:y>0.42594</cdr:y>
    </cdr:to>
    <cdr:sp macro="" textlink="">
      <cdr:nvSpPr>
        <cdr:cNvPr id="8" name="TextBox 7"/>
        <cdr:cNvSpPr txBox="1"/>
      </cdr:nvSpPr>
      <cdr:spPr>
        <a:xfrm xmlns:a="http://schemas.openxmlformats.org/drawingml/2006/main">
          <a:off x="144016" y="1764196"/>
          <a:ext cx="936104" cy="3600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72039</cdr:x>
      <cdr:y>0.66417</cdr:y>
    </cdr:from>
    <cdr:to>
      <cdr:x>1</cdr:x>
      <cdr:y>1</cdr:y>
    </cdr:to>
    <cdr:pic>
      <cdr:nvPicPr>
        <cdr:cNvPr id="2" name="chart"/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6120680" y="3311776"/>
          <a:ext cx="2375620" cy="1674562"/>
        </a:xfrm>
        <a:prstGeom xmlns:a="http://schemas.openxmlformats.org/drawingml/2006/main" prst="rect">
          <a:avLst/>
        </a:prstGeom>
      </cdr:spPr>
    </cdr:pic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1695</cdr:x>
      <cdr:y>0.35374</cdr:y>
    </cdr:from>
    <cdr:to>
      <cdr:x>0.12712</cdr:x>
      <cdr:y>0.42594</cdr:y>
    </cdr:to>
    <cdr:sp macro="" textlink="">
      <cdr:nvSpPr>
        <cdr:cNvPr id="8" name="TextBox 7"/>
        <cdr:cNvSpPr txBox="1"/>
      </cdr:nvSpPr>
      <cdr:spPr>
        <a:xfrm xmlns:a="http://schemas.openxmlformats.org/drawingml/2006/main">
          <a:off x="144016" y="1764196"/>
          <a:ext cx="936104" cy="3600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42759</cdr:x>
      <cdr:y>0.43512</cdr:y>
    </cdr:from>
    <cdr:to>
      <cdr:x>0.52884</cdr:x>
      <cdr:y>0.53878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2736924" y="1511374"/>
          <a:ext cx="648072" cy="3600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4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97,8</a:t>
          </a:r>
          <a:endParaRPr lang="ru-RU" sz="1400" b="1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26834</cdr:x>
      <cdr:y>0.38241</cdr:y>
    </cdr:from>
    <cdr:to>
      <cdr:x>0.66547</cdr:x>
      <cdr:y>0.64715</cdr:y>
    </cdr:to>
    <cdr:cxnSp macro="">
      <cdr:nvCxnSpPr>
        <cdr:cNvPr id="8" name="Прямая со стрелкой 7"/>
        <cdr:cNvCxnSpPr/>
      </cdr:nvCxnSpPr>
      <cdr:spPr bwMode="auto">
        <a:xfrm xmlns:a="http://schemas.openxmlformats.org/drawingml/2006/main">
          <a:off x="1800200" y="1872208"/>
          <a:ext cx="2664296" cy="1296144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chemeClr val="tx1"/>
          </a:solidFill>
          <a:headEnd type="none" w="med" len="med"/>
          <a:tailEnd type="arrow"/>
        </a:ln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42759</cdr:x>
      <cdr:y>0.43512</cdr:y>
    </cdr:from>
    <cdr:to>
      <cdr:x>0.52884</cdr:x>
      <cdr:y>0.53878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2736924" y="1511374"/>
          <a:ext cx="648072" cy="3600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4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101.4</a:t>
          </a:r>
          <a:endParaRPr lang="ru-RU" sz="1400" b="1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27907</cdr:x>
      <cdr:y>0.41182</cdr:y>
    </cdr:from>
    <cdr:to>
      <cdr:x>0.68694</cdr:x>
      <cdr:y>0.69127</cdr:y>
    </cdr:to>
    <cdr:sp macro="" textlink="">
      <cdr:nvSpPr>
        <cdr:cNvPr id="11" name="Прямая со стрелкой 10"/>
        <cdr:cNvSpPr/>
      </cdr:nvSpPr>
      <cdr:spPr bwMode="auto">
        <a:xfrm xmlns:a="http://schemas.openxmlformats.org/drawingml/2006/main" flipV="1">
          <a:off x="1872208" y="2016224"/>
          <a:ext cx="2736304" cy="1368152"/>
        </a:xfrm>
        <a:prstGeom xmlns:a="http://schemas.openxmlformats.org/drawingml/2006/main" prst="straightConnector1">
          <a:avLst/>
        </a:prstGeom>
        <a:ln xmlns:a="http://schemas.openxmlformats.org/drawingml/2006/main">
          <a:headEnd type="none" w="med" len="med"/>
          <a:tailEnd type="arrow"/>
        </a:ln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 vert="horz" wrap="square" lIns="91440" tIns="45720" rIns="91440" bIns="45720" numCol="1" anchor="t" anchorCtr="0" compatLnSpc="1">
          <a:prstTxWarp prst="textNoShape">
            <a:avLst/>
          </a:prstTxWarp>
        </a:bodyPr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01695</cdr:x>
      <cdr:y>0.35374</cdr:y>
    </cdr:from>
    <cdr:to>
      <cdr:x>0.12712</cdr:x>
      <cdr:y>0.42594</cdr:y>
    </cdr:to>
    <cdr:sp macro="" textlink="">
      <cdr:nvSpPr>
        <cdr:cNvPr id="8" name="TextBox 7"/>
        <cdr:cNvSpPr txBox="1"/>
      </cdr:nvSpPr>
      <cdr:spPr>
        <a:xfrm xmlns:a="http://schemas.openxmlformats.org/drawingml/2006/main">
          <a:off x="144016" y="1764196"/>
          <a:ext cx="936104" cy="3600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38477</cdr:x>
      <cdr:y>0.35925</cdr:y>
    </cdr:from>
    <cdr:to>
      <cdr:x>0.6522</cdr:x>
      <cdr:y>0.52412</cdr:y>
    </cdr:to>
    <cdr:sp macro="" textlink="">
      <cdr:nvSpPr>
        <cdr:cNvPr id="2" name="Стрелка вправо 1"/>
        <cdr:cNvSpPr/>
      </cdr:nvSpPr>
      <cdr:spPr bwMode="auto">
        <a:xfrm xmlns:a="http://schemas.openxmlformats.org/drawingml/2006/main" rot="1648090">
          <a:off x="3383377" y="1412089"/>
          <a:ext cx="2351528" cy="648042"/>
        </a:xfrm>
        <a:prstGeom xmlns:a="http://schemas.openxmlformats.org/drawingml/2006/main" prst="rightArrow">
          <a:avLst/>
        </a:prstGeom>
        <a:noFill xmlns:a="http://schemas.openxmlformats.org/drawingml/2006/main"/>
        <a:ln xmlns:a="http://schemas.openxmlformats.org/drawingml/2006/main"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vertOverflow="clip" vert="horz" wrap="square" lIns="91440" tIns="45720" rIns="91440" bIns="45720" numCol="1" anchor="t" anchorCtr="0" compatLnSpc="1">
          <a:prstTxWarp prst="textNoShape">
            <a:avLst/>
          </a:prstTxWarp>
        </a:bodyPr>
        <a:lstStyle xmlns:a="http://schemas.openxmlformats.org/drawingml/2006/main"/>
        <a:p xmlns:a="http://schemas.openxmlformats.org/drawingml/2006/main">
          <a:r>
            <a:rPr lang="en-US" sz="1400" dirty="0" smtClean="0">
              <a:solidFill>
                <a:schemeClr val="tx1"/>
              </a:solidFill>
            </a:rPr>
            <a:t>96.2</a:t>
          </a:r>
          <a:endParaRPr lang="ru-RU" sz="1400" dirty="0">
            <a:solidFill>
              <a:schemeClr val="tx1"/>
            </a:solidFill>
          </a:endParaRP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03617</cdr:x>
      <cdr:y>0.87748</cdr:y>
    </cdr:from>
    <cdr:to>
      <cdr:x>0.57396</cdr:x>
      <cdr:y>0.9338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09935" y="4485481"/>
          <a:ext cx="4608512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dirty="0">
              <a:latin typeface="+mn-lt"/>
              <a:ea typeface="+mn-ea"/>
              <a:cs typeface="+mn-cs"/>
            </a:rPr>
            <a:t>Социальная сфера – 875 867,8 тыс. рублей или 72,4</a:t>
          </a:r>
          <a:r>
            <a:rPr lang="ru-RU" dirty="0" smtClean="0">
              <a:latin typeface="+mn-lt"/>
              <a:ea typeface="+mn-ea"/>
              <a:cs typeface="+mn-cs"/>
            </a:rPr>
            <a:t>%</a:t>
          </a:r>
          <a:endParaRPr lang="ru-RU" dirty="0">
            <a:latin typeface="+mn-lt"/>
            <a:ea typeface="+mn-ea"/>
            <a:cs typeface="+mn-cs"/>
          </a:endParaRP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03617</cdr:x>
      <cdr:y>0.87748</cdr:y>
    </cdr:from>
    <cdr:to>
      <cdr:x>0.57396</cdr:x>
      <cdr:y>0.9338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09935" y="4485481"/>
          <a:ext cx="4608512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dirty="0">
              <a:latin typeface="+mn-lt"/>
              <a:ea typeface="+mn-ea"/>
              <a:cs typeface="+mn-cs"/>
            </a:rPr>
            <a:t>Социальная сфера – 841887,5 тыс. рублей или 70,9%</a:t>
          </a: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41561</cdr:x>
      <cdr:y>0.37713</cdr:y>
    </cdr:from>
    <cdr:to>
      <cdr:x>0.58758</cdr:x>
      <cdr:y>0.57865</cdr:y>
    </cdr:to>
    <cdr:sp macro="" textlink="">
      <cdr:nvSpPr>
        <cdr:cNvPr id="4" name="Стрелка влево 3"/>
        <cdr:cNvSpPr/>
      </cdr:nvSpPr>
      <cdr:spPr bwMode="auto">
        <a:xfrm xmlns:a="http://schemas.openxmlformats.org/drawingml/2006/main" rot="1760032">
          <a:off x="3654499" y="1482353"/>
          <a:ext cx="1512168" cy="792088"/>
        </a:xfrm>
        <a:prstGeom xmlns:a="http://schemas.openxmlformats.org/drawingml/2006/main" prst="leftArrow">
          <a:avLst/>
        </a:prstGeom>
        <a:noFill xmlns:a="http://schemas.openxmlformats.org/drawingml/2006/main"/>
        <a:ln xmlns:a="http://schemas.openxmlformats.org/drawingml/2006/main"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vertOverflow="clip" vert="horz" wrap="square" lIns="91440" tIns="45720" rIns="91440" bIns="45720" numCol="1" anchor="t" anchorCtr="0" compatLnSpc="1">
          <a:prstTxWarp prst="textNoShape">
            <a:avLst/>
          </a:prstTxWarp>
        </a:bodyPr>
        <a:lstStyle xmlns:a="http://schemas.openxmlformats.org/drawingml/2006/main"/>
        <a:p xmlns:a="http://schemas.openxmlformats.org/drawingml/2006/main">
          <a:pPr algn="ctr"/>
          <a:r>
            <a:rPr lang="en-US" sz="1400" dirty="0" smtClean="0"/>
            <a:t>9.4 %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40D98FC8-E084-4ED5-BF32-97C2F429FD4F}" type="datetimeFigureOut">
              <a:rPr lang="ru-RU"/>
              <a:pPr>
                <a:defRPr/>
              </a:pPr>
              <a:t>14.02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666B0E20-4065-44BA-9FC0-34BBA4E45CE9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7A299A1-DFFA-4113-907B-5AF63B859093}" type="datetimeFigureOut">
              <a:rPr lang="ru-RU"/>
              <a:pPr>
                <a:defRPr/>
              </a:pPr>
              <a:t>14.02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5935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01D10FAF-3C95-436B-99A1-BC431D18CD72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163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 altLang="ru-RU" smtClean="0"/>
          </a:p>
        </p:txBody>
      </p:sp>
      <p:sp>
        <p:nvSpPr>
          <p:cNvPr id="9216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A1E69DF-A566-4DE4-8225-3CCB200CC60F}" type="slidenum">
              <a:rPr lang="ru-RU" altLang="ru-RU"/>
              <a:pPr/>
              <a:t>1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059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1059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3A7195C-0217-4B3B-948C-417DBE949134}" type="slidenum">
              <a:rPr lang="ru-RU" altLang="ru-RU"/>
              <a:pPr/>
              <a:t>8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059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1059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3A7195C-0217-4B3B-948C-417DBE949134}" type="slidenum">
              <a:rPr lang="ru-RU" altLang="ru-RU"/>
              <a:pPr/>
              <a:t>9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438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4438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E1B2470-C568-412A-A792-972950B929A3}" type="slidenum">
              <a:rPr lang="ru-RU" altLang="ru-RU">
                <a:solidFill>
                  <a:srgbClr val="000000"/>
                </a:solidFill>
              </a:rPr>
              <a:pPr/>
              <a:t>28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438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14438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E1B2470-C568-412A-A792-972950B929A3}" type="slidenum">
              <a:rPr lang="ru-RU" altLang="ru-RU">
                <a:solidFill>
                  <a:srgbClr val="000000"/>
                </a:solidFill>
              </a:rPr>
              <a:pPr/>
              <a:t>29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oleObject" Target="../embeddings/oleObject2.bin"/><Relationship Id="rId2" Type="http://schemas.openxmlformats.org/officeDocument/2006/relationships/tags" Target="../tags/tag12.xml"/><Relationship Id="rId1" Type="http://schemas.openxmlformats.org/officeDocument/2006/relationships/vmlDrawing" Target="../drawings/vmlDrawing2.vml"/><Relationship Id="rId6" Type="http://schemas.openxmlformats.org/officeDocument/2006/relationships/tags" Target="../tags/tag16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5.xml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oleObject" Target="../embeddings/oleObject11.bin"/><Relationship Id="rId2" Type="http://schemas.openxmlformats.org/officeDocument/2006/relationships/tags" Target="../tags/tag93.xml"/><Relationship Id="rId1" Type="http://schemas.openxmlformats.org/officeDocument/2006/relationships/vmlDrawing" Target="../drawings/vmlDrawing11.vml"/><Relationship Id="rId6" Type="http://schemas.openxmlformats.org/officeDocument/2006/relationships/tags" Target="../tags/tag97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96.xml"/><Relationship Id="rId10" Type="http://schemas.openxmlformats.org/officeDocument/2006/relationships/tags" Target="../tags/tag101.xml"/><Relationship Id="rId4" Type="http://schemas.openxmlformats.org/officeDocument/2006/relationships/tags" Target="../tags/tag95.xml"/><Relationship Id="rId9" Type="http://schemas.openxmlformats.org/officeDocument/2006/relationships/tags" Target="../tags/tag100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3" Type="http://schemas.openxmlformats.org/officeDocument/2006/relationships/tags" Target="../tags/tag103.xml"/><Relationship Id="rId7" Type="http://schemas.openxmlformats.org/officeDocument/2006/relationships/tags" Target="../tags/tag107.xml"/><Relationship Id="rId12" Type="http://schemas.openxmlformats.org/officeDocument/2006/relationships/oleObject" Target="../embeddings/oleObject12.bin"/><Relationship Id="rId2" Type="http://schemas.openxmlformats.org/officeDocument/2006/relationships/tags" Target="../tags/tag102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06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05.xml"/><Relationship Id="rId10" Type="http://schemas.openxmlformats.org/officeDocument/2006/relationships/tags" Target="../tags/tag110.xml"/><Relationship Id="rId4" Type="http://schemas.openxmlformats.org/officeDocument/2006/relationships/tags" Target="../tags/tag104.xml"/><Relationship Id="rId9" Type="http://schemas.openxmlformats.org/officeDocument/2006/relationships/tags" Target="../tags/tag109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1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15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14.xml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26.xml"/><Relationship Id="rId3" Type="http://schemas.openxmlformats.org/officeDocument/2006/relationships/tags" Target="../tags/tag121.xml"/><Relationship Id="rId7" Type="http://schemas.openxmlformats.org/officeDocument/2006/relationships/tags" Target="../tags/tag125.xml"/><Relationship Id="rId12" Type="http://schemas.openxmlformats.org/officeDocument/2006/relationships/oleObject" Target="../embeddings/oleObject14.bin"/><Relationship Id="rId2" Type="http://schemas.openxmlformats.org/officeDocument/2006/relationships/tags" Target="../tags/tag120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23.xml"/><Relationship Id="rId10" Type="http://schemas.openxmlformats.org/officeDocument/2006/relationships/tags" Target="../tags/tag128.xml"/><Relationship Id="rId4" Type="http://schemas.openxmlformats.org/officeDocument/2006/relationships/tags" Target="../tags/tag122.xml"/><Relationship Id="rId9" Type="http://schemas.openxmlformats.org/officeDocument/2006/relationships/tags" Target="../tags/tag127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33.xml"/><Relationship Id="rId5" Type="http://schemas.openxmlformats.org/officeDocument/2006/relationships/tags" Target="../tags/tag132.xml"/><Relationship Id="rId10" Type="http://schemas.openxmlformats.org/officeDocument/2006/relationships/oleObject" Target="../embeddings/oleObject15.bin"/><Relationship Id="rId4" Type="http://schemas.openxmlformats.org/officeDocument/2006/relationships/tags" Target="../tags/tag131.xml"/><Relationship Id="rId9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42.xml"/><Relationship Id="rId3" Type="http://schemas.openxmlformats.org/officeDocument/2006/relationships/tags" Target="../tags/tag137.xml"/><Relationship Id="rId7" Type="http://schemas.openxmlformats.org/officeDocument/2006/relationships/tags" Target="../tags/tag141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40.xml"/><Relationship Id="rId5" Type="http://schemas.openxmlformats.org/officeDocument/2006/relationships/tags" Target="../tags/tag139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38.xml"/><Relationship Id="rId9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oleObject" Target="../embeddings/oleObject3.bin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tags" Target="../tags/tag25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oleObject" Target="../embeddings/oleObject4.bin"/><Relationship Id="rId2" Type="http://schemas.openxmlformats.org/officeDocument/2006/relationships/tags" Target="../tags/tag30.xml"/><Relationship Id="rId1" Type="http://schemas.openxmlformats.org/officeDocument/2006/relationships/vmlDrawing" Target="../drawings/vmlDrawing4.vml"/><Relationship Id="rId6" Type="http://schemas.openxmlformats.org/officeDocument/2006/relationships/tags" Target="../tags/tag3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33.xml"/><Relationship Id="rId10" Type="http://schemas.openxmlformats.org/officeDocument/2006/relationships/tags" Target="../tags/tag38.xml"/><Relationship Id="rId4" Type="http://schemas.openxmlformats.org/officeDocument/2006/relationships/tags" Target="../tags/tag32.xml"/><Relationship Id="rId9" Type="http://schemas.openxmlformats.org/officeDocument/2006/relationships/tags" Target="../tags/tag37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12" Type="http://schemas.openxmlformats.org/officeDocument/2006/relationships/oleObject" Target="../embeddings/oleObject5.bin"/><Relationship Id="rId2" Type="http://schemas.openxmlformats.org/officeDocument/2006/relationships/tags" Target="../tags/tag39.xml"/><Relationship Id="rId1" Type="http://schemas.openxmlformats.org/officeDocument/2006/relationships/vmlDrawing" Target="../drawings/vmlDrawing5.vml"/><Relationship Id="rId6" Type="http://schemas.openxmlformats.org/officeDocument/2006/relationships/tags" Target="../tags/tag43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42.xml"/><Relationship Id="rId10" Type="http://schemas.openxmlformats.org/officeDocument/2006/relationships/tags" Target="../tags/tag47.xml"/><Relationship Id="rId4" Type="http://schemas.openxmlformats.org/officeDocument/2006/relationships/tags" Target="../tags/tag41.xml"/><Relationship Id="rId9" Type="http://schemas.openxmlformats.org/officeDocument/2006/relationships/tags" Target="../tags/tag46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12" Type="http://schemas.openxmlformats.org/officeDocument/2006/relationships/oleObject" Target="../embeddings/oleObject6.bin"/><Relationship Id="rId2" Type="http://schemas.openxmlformats.org/officeDocument/2006/relationships/tags" Target="../tags/tag48.xml"/><Relationship Id="rId1" Type="http://schemas.openxmlformats.org/officeDocument/2006/relationships/vmlDrawing" Target="../drawings/vmlDrawing6.vml"/><Relationship Id="rId6" Type="http://schemas.openxmlformats.org/officeDocument/2006/relationships/tags" Target="../tags/tag52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51.xml"/><Relationship Id="rId10" Type="http://schemas.openxmlformats.org/officeDocument/2006/relationships/tags" Target="../tags/tag56.xml"/><Relationship Id="rId4" Type="http://schemas.openxmlformats.org/officeDocument/2006/relationships/tags" Target="../tags/tag50.xml"/><Relationship Id="rId9" Type="http://schemas.openxmlformats.org/officeDocument/2006/relationships/tags" Target="../tags/tag55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oleObject" Target="../embeddings/oleObject7.bin"/><Relationship Id="rId2" Type="http://schemas.openxmlformats.org/officeDocument/2006/relationships/tags" Target="../tags/tag57.xml"/><Relationship Id="rId1" Type="http://schemas.openxmlformats.org/officeDocument/2006/relationships/vmlDrawing" Target="../drawings/vmlDrawing7.vml"/><Relationship Id="rId6" Type="http://schemas.openxmlformats.org/officeDocument/2006/relationships/tags" Target="../tags/tag6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60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oleObject" Target="../embeddings/oleObject8.bin"/><Relationship Id="rId2" Type="http://schemas.openxmlformats.org/officeDocument/2006/relationships/tags" Target="../tags/tag66.xml"/><Relationship Id="rId1" Type="http://schemas.openxmlformats.org/officeDocument/2006/relationships/vmlDrawing" Target="../drawings/vmlDrawing8.vml"/><Relationship Id="rId6" Type="http://schemas.openxmlformats.org/officeDocument/2006/relationships/tags" Target="../tags/tag7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69.xml"/><Relationship Id="rId10" Type="http://schemas.openxmlformats.org/officeDocument/2006/relationships/tags" Target="../tags/tag74.xml"/><Relationship Id="rId4" Type="http://schemas.openxmlformats.org/officeDocument/2006/relationships/tags" Target="../tags/tag68.xml"/><Relationship Id="rId9" Type="http://schemas.openxmlformats.org/officeDocument/2006/relationships/tags" Target="../tags/tag73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12" Type="http://schemas.openxmlformats.org/officeDocument/2006/relationships/oleObject" Target="../embeddings/oleObject9.bin"/><Relationship Id="rId2" Type="http://schemas.openxmlformats.org/officeDocument/2006/relationships/tags" Target="../tags/tag75.xml"/><Relationship Id="rId1" Type="http://schemas.openxmlformats.org/officeDocument/2006/relationships/vmlDrawing" Target="../drawings/vmlDrawing9.vml"/><Relationship Id="rId6" Type="http://schemas.openxmlformats.org/officeDocument/2006/relationships/tags" Target="../tags/tag79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78.xml"/><Relationship Id="rId10" Type="http://schemas.openxmlformats.org/officeDocument/2006/relationships/tags" Target="../tags/tag83.xml"/><Relationship Id="rId4" Type="http://schemas.openxmlformats.org/officeDocument/2006/relationships/tags" Target="../tags/tag77.xml"/><Relationship Id="rId9" Type="http://schemas.openxmlformats.org/officeDocument/2006/relationships/tags" Target="../tags/tag8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oleObject" Target="../embeddings/oleObject10.bin"/><Relationship Id="rId2" Type="http://schemas.openxmlformats.org/officeDocument/2006/relationships/tags" Target="../tags/tag84.xml"/><Relationship Id="rId1" Type="http://schemas.openxmlformats.org/officeDocument/2006/relationships/vmlDrawing" Target="../drawings/vmlDrawing10.vml"/><Relationship Id="rId6" Type="http://schemas.openxmlformats.org/officeDocument/2006/relationships/tags" Target="../tags/tag8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87.xml"/><Relationship Id="rId10" Type="http://schemas.openxmlformats.org/officeDocument/2006/relationships/tags" Target="../tags/tag92.xml"/><Relationship Id="rId4" Type="http://schemas.openxmlformats.org/officeDocument/2006/relationships/tags" Target="../tags/tag86.xml"/><Relationship Id="rId9" Type="http://schemas.openxmlformats.org/officeDocument/2006/relationships/tags" Target="../tags/tag9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22225"/>
            <a:ext cx="9145588" cy="241300"/>
            <a:chOff x="-4" y="-14"/>
            <a:chExt cx="5646" cy="149"/>
          </a:xfrm>
        </p:grpSpPr>
        <p:sp>
          <p:nvSpPr>
            <p:cNvPr id="5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9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2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6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7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8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9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2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3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4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5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6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7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8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9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0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1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2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3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4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5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6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7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8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9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0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1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2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3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4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5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6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6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7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8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9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0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1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2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3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1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4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5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6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7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8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9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0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1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2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3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4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5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6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7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8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9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0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1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2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3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4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5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7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6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7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8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9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0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1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2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2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3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4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5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6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7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8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9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0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1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2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3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4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5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6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7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8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0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1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2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3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4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3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5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6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7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8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9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0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2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1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2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3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4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5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6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37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7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8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9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0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1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2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3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4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5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6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7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8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9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0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1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2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3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4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5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6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7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8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3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9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0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1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1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3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2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3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4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5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5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6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7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8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9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50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20638"/>
            <a:ext cx="2611438" cy="239713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93196" tIns="46599" rIns="93196" bIns="46599"/>
          <a:lstStyle/>
          <a:p>
            <a:endParaRPr lang="ru-RU"/>
          </a:p>
        </p:txBody>
      </p:sp>
      <p:sp>
        <p:nvSpPr>
          <p:cNvPr id="151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50" y="-26988"/>
            <a:ext cx="9174163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96" tIns="46648" rIns="93296" bIns="46648"/>
          <a:lstStyle/>
          <a:p>
            <a:endParaRPr lang="ru-RU"/>
          </a:p>
        </p:txBody>
      </p:sp>
      <p:grpSp>
        <p:nvGrpSpPr>
          <p:cNvPr id="152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763" y="6616700"/>
            <a:ext cx="9140825" cy="263525"/>
            <a:chOff x="3" y="4085"/>
            <a:chExt cx="5643" cy="163"/>
          </a:xfrm>
        </p:grpSpPr>
        <p:sp>
          <p:nvSpPr>
            <p:cNvPr id="153" name="Rectangle 36"/>
            <p:cNvSpPr>
              <a:spLocks noChangeArrowheads="1"/>
            </p:cNvSpPr>
            <p:nvPr userDrawn="1">
              <p:custDataLst>
                <p:tags r:id="rId10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342" tIns="45672" rIns="91342" bIns="45672" anchor="ctr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4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52 h 164"/>
                <a:gd name="T4" fmla="*/ 1612 w 1612"/>
                <a:gd name="T5" fmla="*/ 15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 rot="10800000" lIns="91342" tIns="45672" rIns="91342" bIns="45672"/>
            <a:lstStyle/>
            <a:p>
              <a:endParaRPr lang="ru-RU"/>
            </a:p>
          </p:txBody>
        </p:sp>
      </p:grpSp>
      <p:grpSp>
        <p:nvGrpSpPr>
          <p:cNvPr id="155" name="McK Slide Elements"/>
          <p:cNvGrpSpPr>
            <a:grpSpLocks/>
          </p:cNvGrpSpPr>
          <p:nvPr/>
        </p:nvGrpSpPr>
        <p:grpSpPr bwMode="auto">
          <a:xfrm>
            <a:off x="125413" y="542925"/>
            <a:ext cx="8793162" cy="6288088"/>
            <a:chOff x="77" y="335"/>
            <a:chExt cx="5429" cy="3882"/>
          </a:xfrm>
        </p:grpSpPr>
        <p:sp>
          <p:nvSpPr>
            <p:cNvPr id="15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smtClean="0">
                  <a:solidFill>
                    <a:srgbClr val="000000"/>
                  </a:solidFill>
                  <a:latin typeface="Arial" charset="0"/>
                </a:rPr>
                <a:t>Unit of measure</a:t>
              </a:r>
            </a:p>
          </p:txBody>
        </p:sp>
        <p:sp>
          <p:nvSpPr>
            <p:cNvPr id="15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</a:t>
              </a:r>
              <a:r>
                <a:rPr lang="en-US" sz="1200" smtClean="0">
                  <a:solidFill>
                    <a:srgbClr val="000000"/>
                  </a:solidFill>
                  <a:latin typeface="Arial" charset="0"/>
                </a:rPr>
                <a:t>*</a:t>
              </a: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Сноска</a:t>
              </a:r>
              <a:endParaRPr lang="en-US" sz="1200" smtClean="0">
                <a:solidFill>
                  <a:srgbClr val="000000"/>
                </a:solidFill>
                <a:latin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Источник</a:t>
              </a:r>
              <a:r>
                <a:rPr lang="en-US" sz="1200" smtClean="0">
                  <a:solidFill>
                    <a:srgbClr val="000000"/>
                  </a:solidFill>
                  <a:latin typeface="Arial" charset="0"/>
                </a:rPr>
                <a:t>:</a:t>
              </a: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Источник</a:t>
              </a:r>
              <a:endParaRPr lang="en-US" sz="12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5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199438" y="2765425"/>
            <a:ext cx="1747837" cy="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 charset="0"/>
              </a:rPr>
              <a:t>Working Draft - Last Modified 09/06/2006 21:40:09</a:t>
            </a:r>
          </a:p>
        </p:txBody>
      </p:sp>
      <p:sp>
        <p:nvSpPr>
          <p:cNvPr id="15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79644" y="4302919"/>
            <a:ext cx="987425" cy="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 charset="0"/>
              </a:rPr>
              <a:t>Printed 08/06/2006 17:52:59</a:t>
            </a:r>
          </a:p>
        </p:txBody>
      </p:sp>
      <p:graphicFrame>
        <p:nvGraphicFramePr>
          <p:cNvPr id="160" name="Rectangle 38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80578" r:id="rId12" imgW="0" imgH="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1" name="pg num"/>
          <p:cNvSpPr>
            <a:spLocks noGrp="1" noChangeArrowheads="1"/>
          </p:cNvSpPr>
          <p:nvPr>
            <p:ph type="sldNum" sz="quarter" idx="10"/>
            <p:custDataLst>
              <p:tags r:id="rId8"/>
            </p:custDataLst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fld id="{8D849D6A-20EA-4A35-81B3-02F1A6C1E65F}" type="slidenum">
              <a:rPr lang="en-US" altLang="ru-RU"/>
              <a:pPr/>
              <a:t>‹#›</a:t>
            </a:fld>
            <a:endParaRPr lang="en-US" altLang="ru-RU"/>
          </a:p>
        </p:txBody>
      </p:sp>
      <p:sp>
        <p:nvSpPr>
          <p:cNvPr id="162" name="doc id"/>
          <p:cNvSpPr>
            <a:spLocks noGrp="1" noChangeArrowheads="1"/>
          </p:cNvSpPr>
          <p:nvPr>
            <p:ph type="ftr" sz="quarter" idx="11"/>
            <p:custDataLst>
              <p:tags r:id="rId9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1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22225"/>
            <a:ext cx="9145588" cy="241300"/>
            <a:chOff x="-4" y="-14"/>
            <a:chExt cx="5646" cy="149"/>
          </a:xfrm>
        </p:grpSpPr>
        <p:sp>
          <p:nvSpPr>
            <p:cNvPr id="5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9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2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6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7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8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9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2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3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4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5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6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7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8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9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0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1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2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3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4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5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6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7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8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9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0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1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2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3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4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5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6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6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7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8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9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0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1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2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3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1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4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5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6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7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8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9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0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1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2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3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4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5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6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7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8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9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0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1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2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3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4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5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7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6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7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8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9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0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1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2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2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3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4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5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6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7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8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9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0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1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2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3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4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5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6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7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8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0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1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2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3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4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3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5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6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7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8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9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0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2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1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2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3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4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5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6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37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7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8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9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0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1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2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3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4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5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6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7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8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9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0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1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2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3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4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5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6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7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8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3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9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0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1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1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3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2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3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4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5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5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6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7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8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9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50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20638"/>
            <a:ext cx="2611438" cy="239713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93196" tIns="46599" rIns="93196" bIns="46599"/>
          <a:lstStyle/>
          <a:p>
            <a:endParaRPr lang="ru-RU"/>
          </a:p>
        </p:txBody>
      </p:sp>
      <p:sp>
        <p:nvSpPr>
          <p:cNvPr id="151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50" y="-26988"/>
            <a:ext cx="9174163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96" tIns="46648" rIns="93296" bIns="46648"/>
          <a:lstStyle/>
          <a:p>
            <a:endParaRPr lang="ru-RU"/>
          </a:p>
        </p:txBody>
      </p:sp>
      <p:grpSp>
        <p:nvGrpSpPr>
          <p:cNvPr id="152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763" y="6616700"/>
            <a:ext cx="9140825" cy="263525"/>
            <a:chOff x="3" y="4085"/>
            <a:chExt cx="5643" cy="163"/>
          </a:xfrm>
        </p:grpSpPr>
        <p:sp>
          <p:nvSpPr>
            <p:cNvPr id="153" name="Rectangle 36"/>
            <p:cNvSpPr>
              <a:spLocks noChangeArrowheads="1"/>
            </p:cNvSpPr>
            <p:nvPr userDrawn="1">
              <p:custDataLst>
                <p:tags r:id="rId10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342" tIns="45672" rIns="91342" bIns="45672" anchor="ctr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4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52 h 164"/>
                <a:gd name="T4" fmla="*/ 1612 w 1612"/>
                <a:gd name="T5" fmla="*/ 15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 rot="10800000" lIns="91342" tIns="45672" rIns="91342" bIns="45672"/>
            <a:lstStyle/>
            <a:p>
              <a:endParaRPr lang="ru-RU"/>
            </a:p>
          </p:txBody>
        </p:sp>
      </p:grpSp>
      <p:grpSp>
        <p:nvGrpSpPr>
          <p:cNvPr id="155" name="McK Slide Elements"/>
          <p:cNvGrpSpPr>
            <a:grpSpLocks/>
          </p:cNvGrpSpPr>
          <p:nvPr/>
        </p:nvGrpSpPr>
        <p:grpSpPr bwMode="auto">
          <a:xfrm>
            <a:off x="125413" y="542925"/>
            <a:ext cx="8793162" cy="6288088"/>
            <a:chOff x="77" y="335"/>
            <a:chExt cx="5429" cy="3882"/>
          </a:xfrm>
        </p:grpSpPr>
        <p:sp>
          <p:nvSpPr>
            <p:cNvPr id="15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smtClean="0">
                  <a:solidFill>
                    <a:srgbClr val="000000"/>
                  </a:solidFill>
                  <a:latin typeface="Arial" charset="0"/>
                </a:rPr>
                <a:t>Unit of measure</a:t>
              </a:r>
            </a:p>
          </p:txBody>
        </p:sp>
        <p:sp>
          <p:nvSpPr>
            <p:cNvPr id="15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</a:t>
              </a:r>
              <a:r>
                <a:rPr lang="en-US" sz="1200" smtClean="0">
                  <a:solidFill>
                    <a:srgbClr val="000000"/>
                  </a:solidFill>
                  <a:latin typeface="Arial" charset="0"/>
                </a:rPr>
                <a:t>*</a:t>
              </a: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Сноска</a:t>
              </a:r>
              <a:endParaRPr lang="en-US" sz="1200" smtClean="0">
                <a:solidFill>
                  <a:srgbClr val="000000"/>
                </a:solidFill>
                <a:latin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Источник</a:t>
              </a:r>
              <a:r>
                <a:rPr lang="en-US" sz="1200" smtClean="0">
                  <a:solidFill>
                    <a:srgbClr val="000000"/>
                  </a:solidFill>
                  <a:latin typeface="Arial" charset="0"/>
                </a:rPr>
                <a:t>:</a:t>
              </a: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Источник</a:t>
              </a:r>
              <a:endParaRPr lang="en-US" sz="12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5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199438" y="2765425"/>
            <a:ext cx="1747837" cy="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 charset="0"/>
              </a:rPr>
              <a:t>Working Draft - Last Modified 09/06/2006 21:40:09</a:t>
            </a:r>
          </a:p>
        </p:txBody>
      </p:sp>
      <p:sp>
        <p:nvSpPr>
          <p:cNvPr id="15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79644" y="4302919"/>
            <a:ext cx="987425" cy="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 charset="0"/>
              </a:rPr>
              <a:t>Printed 08/06/2006 17:52:59</a:t>
            </a:r>
          </a:p>
        </p:txBody>
      </p:sp>
      <p:graphicFrame>
        <p:nvGraphicFramePr>
          <p:cNvPr id="160" name="Rectangle 38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89794" r:id="rId12" imgW="0" imgH="0" progId="">
              <p:embed/>
            </p:oleObj>
          </a:graphicData>
        </a:graphic>
      </p:graphicFrame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626454" y="234864"/>
            <a:ext cx="292388" cy="23113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34108" y="234864"/>
            <a:ext cx="1231106" cy="23113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1" name="pg num"/>
          <p:cNvSpPr>
            <a:spLocks noGrp="1" noChangeArrowheads="1"/>
          </p:cNvSpPr>
          <p:nvPr>
            <p:ph type="sldNum" sz="quarter" idx="10"/>
            <p:custDataLst>
              <p:tags r:id="rId8"/>
            </p:custDataLst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fld id="{16D1FC99-2884-48A8-A996-AB7CB82944EE}" type="slidenum">
              <a:rPr lang="en-US" altLang="ru-RU"/>
              <a:pPr/>
              <a:t>‹#›</a:t>
            </a:fld>
            <a:endParaRPr lang="en-US" altLang="ru-RU"/>
          </a:p>
        </p:txBody>
      </p:sp>
      <p:sp>
        <p:nvSpPr>
          <p:cNvPr id="162" name="doc id"/>
          <p:cNvSpPr>
            <a:spLocks noGrp="1" noChangeArrowheads="1"/>
          </p:cNvSpPr>
          <p:nvPr>
            <p:ph type="ftr" sz="quarter" idx="11"/>
            <p:custDataLst>
              <p:tags r:id="rId9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1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22225"/>
            <a:ext cx="9145588" cy="241300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9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2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6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1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7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2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3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2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37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3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1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3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5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20638"/>
            <a:ext cx="2611438" cy="239713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93196" tIns="46599" rIns="93196" bIns="46599"/>
          <a:lstStyle/>
          <a:p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50" y="-26988"/>
            <a:ext cx="9174163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96" tIns="46648" rIns="93296" bIns="46648"/>
          <a:lstStyle/>
          <a:p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763" y="6616700"/>
            <a:ext cx="9140825" cy="263525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0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342" tIns="45672" rIns="91342" bIns="45672" anchor="ctr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52 h 164"/>
                <a:gd name="T4" fmla="*/ 1612 w 1612"/>
                <a:gd name="T5" fmla="*/ 15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 rot="10800000" lIns="91342" tIns="45672" rIns="91342" bIns="45672"/>
            <a:lstStyle/>
            <a:p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125413" y="542925"/>
            <a:ext cx="8793162" cy="6288088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smtClean="0">
                  <a:solidFill>
                    <a:srgbClr val="000000"/>
                  </a:solidFill>
                  <a:latin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</a:t>
              </a:r>
              <a:r>
                <a:rPr lang="en-US" sz="1200" smtClean="0">
                  <a:solidFill>
                    <a:srgbClr val="000000"/>
                  </a:solidFill>
                  <a:latin typeface="Arial" charset="0"/>
                </a:rPr>
                <a:t>*</a:t>
              </a: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Сноска</a:t>
              </a:r>
              <a:endParaRPr lang="en-US" sz="1200" smtClean="0">
                <a:solidFill>
                  <a:srgbClr val="000000"/>
                </a:solidFill>
                <a:latin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Источник</a:t>
              </a:r>
              <a:r>
                <a:rPr lang="en-US" sz="1200" smtClean="0">
                  <a:solidFill>
                    <a:srgbClr val="000000"/>
                  </a:solidFill>
                  <a:latin typeface="Arial" charset="0"/>
                </a:rPr>
                <a:t>:</a:t>
              </a: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Источник</a:t>
              </a:r>
              <a:endParaRPr lang="en-US" sz="12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199438" y="2765425"/>
            <a:ext cx="1747837" cy="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79644" y="4302919"/>
            <a:ext cx="987425" cy="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 charset="0"/>
              </a:rPr>
              <a:t>Printed 08/06/2006 17:52:59</a:t>
            </a:r>
          </a:p>
        </p:txBody>
      </p:sp>
      <p:graphicFrame>
        <p:nvGraphicFramePr>
          <p:cNvPr id="159" name="Rectangle 38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90818" r:id="rId12" imgW="0" imgH="0" progId="">
              <p:embed/>
            </p:oleObj>
          </a:graphicData>
        </a:graphic>
      </p:graphicFrame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21489" y="234864"/>
            <a:ext cx="8797353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8"/>
            </p:custDataLst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fld id="{537E9704-C5CC-4433-9899-E3B50E514FAC}" type="slidenum">
              <a:rPr lang="en-US" altLang="ru-RU"/>
              <a:pPr/>
              <a:t>‹#›</a:t>
            </a:fld>
            <a:endParaRPr lang="en-US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9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1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22225"/>
            <a:ext cx="9145588" cy="241300"/>
            <a:chOff x="-4" y="-14"/>
            <a:chExt cx="5646" cy="149"/>
          </a:xfrm>
        </p:grpSpPr>
        <p:sp>
          <p:nvSpPr>
            <p:cNvPr id="8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9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6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7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2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8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9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2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3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4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5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6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7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8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9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0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1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2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3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4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5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6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7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8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9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0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1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2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3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4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5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6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7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8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9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6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0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1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2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3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4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5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6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1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7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8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9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0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1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2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3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4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5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6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7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8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9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0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1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2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3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4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5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6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7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8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7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9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0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1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2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3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4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5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2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6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7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8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9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0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1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2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3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4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5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6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7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8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0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1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2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3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4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5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6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7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3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8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9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0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1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2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3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2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4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5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6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7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8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9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37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0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1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2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3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4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5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6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7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8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9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0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1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2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3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4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5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6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7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8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9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0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1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3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2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3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1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4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3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5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6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7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8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5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9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0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1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2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53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20638"/>
            <a:ext cx="2611438" cy="239713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93196" tIns="46599" rIns="93196" bIns="46599"/>
          <a:lstStyle/>
          <a:p>
            <a:endParaRPr lang="ru-RU"/>
          </a:p>
        </p:txBody>
      </p:sp>
      <p:sp>
        <p:nvSpPr>
          <p:cNvPr id="154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50" y="-26988"/>
            <a:ext cx="9174163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96" tIns="46648" rIns="93296" bIns="46648"/>
          <a:lstStyle/>
          <a:p>
            <a:endParaRPr lang="ru-RU"/>
          </a:p>
        </p:txBody>
      </p:sp>
      <p:grpSp>
        <p:nvGrpSpPr>
          <p:cNvPr id="155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763" y="6616700"/>
            <a:ext cx="9140825" cy="263525"/>
            <a:chOff x="3" y="4085"/>
            <a:chExt cx="5643" cy="163"/>
          </a:xfrm>
        </p:grpSpPr>
        <p:sp>
          <p:nvSpPr>
            <p:cNvPr id="156" name="Rectangle 36"/>
            <p:cNvSpPr>
              <a:spLocks noChangeArrowheads="1"/>
            </p:cNvSpPr>
            <p:nvPr userDrawn="1">
              <p:custDataLst>
                <p:tags r:id="rId10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342" tIns="45672" rIns="91342" bIns="45672" anchor="ctr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7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52 h 164"/>
                <a:gd name="T4" fmla="*/ 1612 w 1612"/>
                <a:gd name="T5" fmla="*/ 15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 rot="10800000" lIns="91342" tIns="45672" rIns="91342" bIns="45672"/>
            <a:lstStyle/>
            <a:p>
              <a:endParaRPr lang="ru-RU"/>
            </a:p>
          </p:txBody>
        </p:sp>
      </p:grpSp>
      <p:grpSp>
        <p:nvGrpSpPr>
          <p:cNvPr id="158" name="McK Slide Elements"/>
          <p:cNvGrpSpPr>
            <a:grpSpLocks/>
          </p:cNvGrpSpPr>
          <p:nvPr/>
        </p:nvGrpSpPr>
        <p:grpSpPr bwMode="auto">
          <a:xfrm>
            <a:off x="125413" y="542925"/>
            <a:ext cx="8793162" cy="6288088"/>
            <a:chOff x="77" y="335"/>
            <a:chExt cx="5429" cy="3882"/>
          </a:xfrm>
        </p:grpSpPr>
        <p:sp>
          <p:nvSpPr>
            <p:cNvPr id="159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smtClean="0">
                  <a:solidFill>
                    <a:srgbClr val="000000"/>
                  </a:solidFill>
                  <a:latin typeface="Arial" charset="0"/>
                </a:rPr>
                <a:t>Unit of measure</a:t>
              </a:r>
            </a:p>
          </p:txBody>
        </p:sp>
        <p:sp>
          <p:nvSpPr>
            <p:cNvPr id="160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</a:t>
              </a:r>
              <a:r>
                <a:rPr lang="en-US" sz="1200" smtClean="0">
                  <a:solidFill>
                    <a:srgbClr val="000000"/>
                  </a:solidFill>
                  <a:latin typeface="Arial" charset="0"/>
                </a:rPr>
                <a:t>*</a:t>
              </a: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Сноска</a:t>
              </a:r>
              <a:endParaRPr lang="en-US" sz="1200" smtClean="0">
                <a:solidFill>
                  <a:srgbClr val="000000"/>
                </a:solidFill>
                <a:latin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Источник</a:t>
              </a:r>
              <a:r>
                <a:rPr lang="en-US" sz="1200" smtClean="0">
                  <a:solidFill>
                    <a:srgbClr val="000000"/>
                  </a:solidFill>
                  <a:latin typeface="Arial" charset="0"/>
                </a:rPr>
                <a:t>:</a:t>
              </a: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Источник</a:t>
              </a:r>
              <a:endParaRPr lang="en-US" sz="12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61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199438" y="2765425"/>
            <a:ext cx="1747837" cy="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 charset="0"/>
              </a:rPr>
              <a:t>Working Draft - Last Modified 09/06/2006 21:40:09</a:t>
            </a:r>
          </a:p>
        </p:txBody>
      </p:sp>
      <p:sp>
        <p:nvSpPr>
          <p:cNvPr id="162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79644" y="4302919"/>
            <a:ext cx="987425" cy="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 charset="0"/>
              </a:rPr>
              <a:t>Printed 08/06/2006 17:52:59</a:t>
            </a:r>
          </a:p>
        </p:txBody>
      </p:sp>
      <p:graphicFrame>
        <p:nvGraphicFramePr>
          <p:cNvPr id="163" name="Rectangle 38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91842" r:id="rId12" imgW="0" imgH="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121489" y="234864"/>
            <a:ext cx="8794113" cy="294794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124729" y="1299035"/>
            <a:ext cx="4318495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598728" y="1299035"/>
            <a:ext cx="4320114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124729" y="2000386"/>
            <a:ext cx="4318495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98728" y="2000386"/>
            <a:ext cx="4320114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4" name="pg num"/>
          <p:cNvSpPr>
            <a:spLocks noGrp="1" noChangeArrowheads="1"/>
          </p:cNvSpPr>
          <p:nvPr>
            <p:ph type="sldNum" sz="quarter" idx="10"/>
            <p:custDataLst>
              <p:tags r:id="rId8"/>
            </p:custDataLst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fld id="{835127AC-3201-44A9-937C-D8D7738A745B}" type="slidenum">
              <a:rPr lang="en-US" altLang="ru-RU"/>
              <a:pPr/>
              <a:t>‹#›</a:t>
            </a:fld>
            <a:endParaRPr lang="en-US" altLang="ru-RU"/>
          </a:p>
        </p:txBody>
      </p:sp>
      <p:sp>
        <p:nvSpPr>
          <p:cNvPr id="165" name="doc id"/>
          <p:cNvSpPr>
            <a:spLocks noGrp="1" noChangeArrowheads="1"/>
          </p:cNvSpPr>
          <p:nvPr>
            <p:ph type="ftr" sz="quarter" idx="11"/>
            <p:custDataLst>
              <p:tags r:id="rId9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1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22225"/>
            <a:ext cx="9145588" cy="241300"/>
            <a:chOff x="-4" y="-14"/>
            <a:chExt cx="5646" cy="149"/>
          </a:xfrm>
        </p:grpSpPr>
        <p:sp>
          <p:nvSpPr>
            <p:cNvPr id="5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9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2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6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7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8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9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2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3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4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5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6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7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8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9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0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1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2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3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4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5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6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7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8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9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0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1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2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3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4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5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6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6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7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8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9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0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1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2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3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1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4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5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6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7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8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9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0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1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2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3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4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5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6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7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8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9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0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1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2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3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4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5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7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6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7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8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9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0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1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2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2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3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4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5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6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7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8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9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0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1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2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3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4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5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6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7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8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0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1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2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3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4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3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5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6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7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8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9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0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2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1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2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3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4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5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6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37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7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8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9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0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1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2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3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4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5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6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7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8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9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0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1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2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3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4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5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6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7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8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3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9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0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1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1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3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2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3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4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5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5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6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7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8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9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50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20638"/>
            <a:ext cx="2611438" cy="239713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93196" tIns="46599" rIns="93196" bIns="46599"/>
          <a:lstStyle/>
          <a:p>
            <a:endParaRPr lang="ru-RU"/>
          </a:p>
        </p:txBody>
      </p:sp>
      <p:sp>
        <p:nvSpPr>
          <p:cNvPr id="151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50" y="-26988"/>
            <a:ext cx="9174163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96" tIns="46648" rIns="93296" bIns="46648"/>
          <a:lstStyle/>
          <a:p>
            <a:endParaRPr lang="ru-RU"/>
          </a:p>
        </p:txBody>
      </p:sp>
      <p:grpSp>
        <p:nvGrpSpPr>
          <p:cNvPr id="152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763" y="6616700"/>
            <a:ext cx="9140825" cy="263525"/>
            <a:chOff x="3" y="4085"/>
            <a:chExt cx="5643" cy="163"/>
          </a:xfrm>
        </p:grpSpPr>
        <p:sp>
          <p:nvSpPr>
            <p:cNvPr id="153" name="Rectangle 36"/>
            <p:cNvSpPr>
              <a:spLocks noChangeArrowheads="1"/>
            </p:cNvSpPr>
            <p:nvPr userDrawn="1">
              <p:custDataLst>
                <p:tags r:id="rId10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342" tIns="45672" rIns="91342" bIns="45672" anchor="ctr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4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52 h 164"/>
                <a:gd name="T4" fmla="*/ 1612 w 1612"/>
                <a:gd name="T5" fmla="*/ 15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 rot="10800000" lIns="91342" tIns="45672" rIns="91342" bIns="45672"/>
            <a:lstStyle/>
            <a:p>
              <a:endParaRPr lang="ru-RU"/>
            </a:p>
          </p:txBody>
        </p:sp>
      </p:grpSp>
      <p:grpSp>
        <p:nvGrpSpPr>
          <p:cNvPr id="155" name="McK Slide Elements"/>
          <p:cNvGrpSpPr>
            <a:grpSpLocks/>
          </p:cNvGrpSpPr>
          <p:nvPr/>
        </p:nvGrpSpPr>
        <p:grpSpPr bwMode="auto">
          <a:xfrm>
            <a:off x="125413" y="542925"/>
            <a:ext cx="8793162" cy="6288088"/>
            <a:chOff x="77" y="335"/>
            <a:chExt cx="5429" cy="3882"/>
          </a:xfrm>
        </p:grpSpPr>
        <p:sp>
          <p:nvSpPr>
            <p:cNvPr id="15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smtClean="0">
                  <a:solidFill>
                    <a:srgbClr val="000000"/>
                  </a:solidFill>
                  <a:latin typeface="Arial" charset="0"/>
                </a:rPr>
                <a:t>Unit of measure</a:t>
              </a:r>
            </a:p>
          </p:txBody>
        </p:sp>
        <p:sp>
          <p:nvSpPr>
            <p:cNvPr id="15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</a:t>
              </a:r>
              <a:r>
                <a:rPr lang="en-US" sz="1200" smtClean="0">
                  <a:solidFill>
                    <a:srgbClr val="000000"/>
                  </a:solidFill>
                  <a:latin typeface="Arial" charset="0"/>
                </a:rPr>
                <a:t>*</a:t>
              </a: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Сноска</a:t>
              </a:r>
              <a:endParaRPr lang="en-US" sz="1200" smtClean="0">
                <a:solidFill>
                  <a:srgbClr val="000000"/>
                </a:solidFill>
                <a:latin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Источник</a:t>
              </a:r>
              <a:r>
                <a:rPr lang="en-US" sz="1200" smtClean="0">
                  <a:solidFill>
                    <a:srgbClr val="000000"/>
                  </a:solidFill>
                  <a:latin typeface="Arial" charset="0"/>
                </a:rPr>
                <a:t>:</a:t>
              </a: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Источник</a:t>
              </a:r>
              <a:endParaRPr lang="en-US" sz="12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5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199438" y="2765425"/>
            <a:ext cx="1747837" cy="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 charset="0"/>
              </a:rPr>
              <a:t>Working Draft - Last Modified 09/06/2006 21:40:09</a:t>
            </a:r>
          </a:p>
        </p:txBody>
      </p:sp>
      <p:sp>
        <p:nvSpPr>
          <p:cNvPr id="15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79644" y="4302919"/>
            <a:ext cx="987425" cy="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 charset="0"/>
              </a:rPr>
              <a:t>Printed 08/06/2006 17:52:59</a:t>
            </a:r>
          </a:p>
        </p:txBody>
      </p:sp>
      <p:graphicFrame>
        <p:nvGraphicFramePr>
          <p:cNvPr id="160" name="Rectangle 38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92866" r:id="rId12" imgW="0" imgH="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193" y="2129965"/>
            <a:ext cx="7773614" cy="2923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2006" y="3885769"/>
            <a:ext cx="6399989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66481" indent="0" algn="ctr">
              <a:buNone/>
              <a:defRPr/>
            </a:lvl2pPr>
            <a:lvl3pPr marL="932962" indent="0" algn="ctr">
              <a:buNone/>
              <a:defRPr/>
            </a:lvl3pPr>
            <a:lvl4pPr marL="1399443" indent="0" algn="ctr">
              <a:buNone/>
              <a:defRPr/>
            </a:lvl4pPr>
            <a:lvl5pPr marL="1865925" indent="0" algn="ctr">
              <a:buNone/>
              <a:defRPr/>
            </a:lvl5pPr>
            <a:lvl6pPr marL="2332406" indent="0" algn="ctr">
              <a:buNone/>
              <a:defRPr/>
            </a:lvl6pPr>
            <a:lvl7pPr marL="2798887" indent="0" algn="ctr">
              <a:buNone/>
              <a:defRPr/>
            </a:lvl7pPr>
            <a:lvl8pPr marL="3265368" indent="0" algn="ctr">
              <a:buNone/>
              <a:defRPr/>
            </a:lvl8pPr>
            <a:lvl9pPr marL="3731849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161" name="pg num"/>
          <p:cNvSpPr>
            <a:spLocks noGrp="1" noChangeArrowheads="1"/>
          </p:cNvSpPr>
          <p:nvPr>
            <p:ph type="sldNum" sz="quarter" idx="10"/>
            <p:custDataLst>
              <p:tags r:id="rId8"/>
            </p:custDataLst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fld id="{15D6AC80-1BEF-44DB-87AD-CBA25053E384}" type="slidenum">
              <a:rPr lang="en-US" altLang="ru-RU"/>
              <a:pPr/>
              <a:t>‹#›</a:t>
            </a:fld>
            <a:endParaRPr lang="en-US" altLang="ru-RU"/>
          </a:p>
        </p:txBody>
      </p:sp>
      <p:sp>
        <p:nvSpPr>
          <p:cNvPr id="162" name="doc id"/>
          <p:cNvSpPr>
            <a:spLocks noGrp="1" noChangeArrowheads="1"/>
          </p:cNvSpPr>
          <p:nvPr>
            <p:ph type="ftr" sz="quarter" idx="11"/>
            <p:custDataLst>
              <p:tags r:id="rId9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1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verTx" preserve="1">
  <p:cSld name="Заголовок и объект над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22225"/>
            <a:ext cx="9145588" cy="241300"/>
            <a:chOff x="-4" y="-14"/>
            <a:chExt cx="5646" cy="149"/>
          </a:xfrm>
        </p:grpSpPr>
        <p:sp>
          <p:nvSpPr>
            <p:cNvPr id="6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9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2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6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7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8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9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2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3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4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5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6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7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8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9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0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1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2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3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4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5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6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7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8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9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0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1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2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3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4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5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6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7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6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8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9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0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1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2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3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4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1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5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6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7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8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9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0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1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2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3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4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5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6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7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8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9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0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1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2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3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4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5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6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7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7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8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9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0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1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2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3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2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4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5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6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7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8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9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0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1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2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3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4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5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6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7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8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0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1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2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3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4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5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3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6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7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8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9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0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1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2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2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3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4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5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6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7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37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8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9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0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1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2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3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4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5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6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7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8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9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0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1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2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3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4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5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6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7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8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9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3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0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1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1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2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3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3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4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5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6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5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7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8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9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0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51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20638"/>
            <a:ext cx="2611438" cy="239713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93196" tIns="46599" rIns="93196" bIns="46599"/>
          <a:lstStyle/>
          <a:p>
            <a:endParaRPr lang="ru-RU"/>
          </a:p>
        </p:txBody>
      </p:sp>
      <p:sp>
        <p:nvSpPr>
          <p:cNvPr id="152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50" y="-26988"/>
            <a:ext cx="9174163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96" tIns="46648" rIns="93296" bIns="46648"/>
          <a:lstStyle/>
          <a:p>
            <a:endParaRPr lang="ru-RU"/>
          </a:p>
        </p:txBody>
      </p:sp>
      <p:grpSp>
        <p:nvGrpSpPr>
          <p:cNvPr id="153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763" y="6616700"/>
            <a:ext cx="9140825" cy="263525"/>
            <a:chOff x="3" y="4085"/>
            <a:chExt cx="5643" cy="163"/>
          </a:xfrm>
        </p:grpSpPr>
        <p:sp>
          <p:nvSpPr>
            <p:cNvPr id="154" name="Rectangle 36"/>
            <p:cNvSpPr>
              <a:spLocks noChangeArrowheads="1"/>
            </p:cNvSpPr>
            <p:nvPr userDrawn="1">
              <p:custDataLst>
                <p:tags r:id="rId8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342" tIns="45672" rIns="91342" bIns="45672" anchor="ctr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5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52 h 164"/>
                <a:gd name="T4" fmla="*/ 1612 w 1612"/>
                <a:gd name="T5" fmla="*/ 15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 rot="10800000" lIns="91342" tIns="45672" rIns="91342" bIns="45672"/>
            <a:lstStyle/>
            <a:p>
              <a:endParaRPr lang="ru-RU"/>
            </a:p>
          </p:txBody>
        </p:sp>
      </p:grpSp>
      <p:grpSp>
        <p:nvGrpSpPr>
          <p:cNvPr id="156" name="McK Slide Elements"/>
          <p:cNvGrpSpPr>
            <a:grpSpLocks/>
          </p:cNvGrpSpPr>
          <p:nvPr/>
        </p:nvGrpSpPr>
        <p:grpSpPr bwMode="auto">
          <a:xfrm>
            <a:off x="125413" y="542925"/>
            <a:ext cx="8793162" cy="6288088"/>
            <a:chOff x="77" y="335"/>
            <a:chExt cx="5429" cy="3882"/>
          </a:xfrm>
        </p:grpSpPr>
        <p:sp>
          <p:nvSpPr>
            <p:cNvPr id="157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smtClean="0">
                  <a:solidFill>
                    <a:srgbClr val="000000"/>
                  </a:solidFill>
                  <a:latin typeface="Arial" charset="0"/>
                </a:rPr>
                <a:t>Unit of measure</a:t>
              </a:r>
            </a:p>
          </p:txBody>
        </p:sp>
        <p:sp>
          <p:nvSpPr>
            <p:cNvPr id="158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</a:t>
              </a:r>
              <a:r>
                <a:rPr lang="en-US" sz="1200" smtClean="0">
                  <a:solidFill>
                    <a:srgbClr val="000000"/>
                  </a:solidFill>
                  <a:latin typeface="Arial" charset="0"/>
                </a:rPr>
                <a:t>*</a:t>
              </a: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Сноска</a:t>
              </a:r>
              <a:endParaRPr lang="en-US" sz="1200" smtClean="0">
                <a:solidFill>
                  <a:srgbClr val="000000"/>
                </a:solidFill>
                <a:latin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Источник</a:t>
              </a:r>
              <a:r>
                <a:rPr lang="en-US" sz="1200" smtClean="0">
                  <a:solidFill>
                    <a:srgbClr val="000000"/>
                  </a:solidFill>
                  <a:latin typeface="Arial" charset="0"/>
                </a:rPr>
                <a:t>:</a:t>
              </a: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Источник</a:t>
              </a:r>
              <a:endParaRPr lang="en-US" sz="12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59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199438" y="2765425"/>
            <a:ext cx="1747837" cy="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 charset="0"/>
              </a:rPr>
              <a:t>Working Draft - Last Modified 09/06/2006 21:40:09</a:t>
            </a:r>
          </a:p>
        </p:txBody>
      </p:sp>
      <p:sp>
        <p:nvSpPr>
          <p:cNvPr id="160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79644" y="4302919"/>
            <a:ext cx="987425" cy="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 charset="0"/>
              </a:rPr>
              <a:t>Printed 08/06/2006 17:52:59</a:t>
            </a:r>
          </a:p>
        </p:txBody>
      </p:sp>
      <p:graphicFrame>
        <p:nvGraphicFramePr>
          <p:cNvPr id="161" name="Rectangle 38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93890" r:id="rId10" imgW="0" imgH="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3" cy="294794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24729" y="1299035"/>
            <a:ext cx="8794113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24729" y="2000386"/>
            <a:ext cx="8794113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2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fld id="{080D7916-6282-482F-9365-8DFD70B7E358}" type="slidenum">
              <a:rPr lang="en-US" altLang="ru-RU"/>
              <a:pPr/>
              <a:t>‹#›</a:t>
            </a:fld>
            <a:endParaRPr lang="en-US" altLang="ru-RU"/>
          </a:p>
        </p:txBody>
      </p:sp>
      <p:sp>
        <p:nvSpPr>
          <p:cNvPr id="163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1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22225"/>
            <a:ext cx="9145588" cy="241300"/>
            <a:chOff x="-4" y="-14"/>
            <a:chExt cx="5646" cy="149"/>
          </a:xfrm>
        </p:grpSpPr>
        <p:sp>
          <p:nvSpPr>
            <p:cNvPr id="5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9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2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6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7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8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9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2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3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4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5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6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7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8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9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0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1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2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3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4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5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6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7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8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9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0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1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2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3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4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5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6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6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7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8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9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0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1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2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3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1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4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5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6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7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8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9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0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1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2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3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4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5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6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7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8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9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0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1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2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3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4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5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7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6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7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8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9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0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1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2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2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3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4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5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6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7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8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9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0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1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2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3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4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5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6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7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8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0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1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2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3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4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3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5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6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7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8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9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0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2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1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2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3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4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5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6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37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7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8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9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0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1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2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3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4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5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6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7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8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9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0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1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2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3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4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5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6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7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8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3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9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0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1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1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3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2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3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4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5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5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6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7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8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9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50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20638"/>
            <a:ext cx="2611438" cy="239713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93196" tIns="46599" rIns="93196" bIns="46599"/>
          <a:lstStyle/>
          <a:p>
            <a:endParaRPr lang="ru-RU"/>
          </a:p>
        </p:txBody>
      </p:sp>
      <p:sp>
        <p:nvSpPr>
          <p:cNvPr id="151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50" y="-26988"/>
            <a:ext cx="9174163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96" tIns="46648" rIns="93296" bIns="46648"/>
          <a:lstStyle/>
          <a:p>
            <a:endParaRPr lang="ru-RU"/>
          </a:p>
        </p:txBody>
      </p:sp>
      <p:grpSp>
        <p:nvGrpSpPr>
          <p:cNvPr id="152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763" y="6616700"/>
            <a:ext cx="9140825" cy="263525"/>
            <a:chOff x="3" y="4085"/>
            <a:chExt cx="5643" cy="163"/>
          </a:xfrm>
        </p:grpSpPr>
        <p:sp>
          <p:nvSpPr>
            <p:cNvPr id="153" name="Rectangle 36"/>
            <p:cNvSpPr>
              <a:spLocks noChangeArrowheads="1"/>
            </p:cNvSpPr>
            <p:nvPr userDrawn="1">
              <p:custDataLst>
                <p:tags r:id="rId8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342" tIns="45672" rIns="91342" bIns="45672" anchor="ctr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4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52 h 164"/>
                <a:gd name="T4" fmla="*/ 1612 w 1612"/>
                <a:gd name="T5" fmla="*/ 15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 rot="10800000" lIns="91342" tIns="45672" rIns="91342" bIns="45672"/>
            <a:lstStyle/>
            <a:p>
              <a:endParaRPr lang="ru-RU"/>
            </a:p>
          </p:txBody>
        </p:sp>
      </p:grpSp>
      <p:grpSp>
        <p:nvGrpSpPr>
          <p:cNvPr id="155" name="McK Slide Elements"/>
          <p:cNvGrpSpPr>
            <a:grpSpLocks/>
          </p:cNvGrpSpPr>
          <p:nvPr/>
        </p:nvGrpSpPr>
        <p:grpSpPr bwMode="auto">
          <a:xfrm>
            <a:off x="125413" y="542925"/>
            <a:ext cx="8793162" cy="6288088"/>
            <a:chOff x="77" y="335"/>
            <a:chExt cx="5429" cy="3882"/>
          </a:xfrm>
        </p:grpSpPr>
        <p:sp>
          <p:nvSpPr>
            <p:cNvPr id="15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smtClean="0">
                  <a:solidFill>
                    <a:srgbClr val="000000"/>
                  </a:solidFill>
                  <a:latin typeface="Arial" charset="0"/>
                </a:rPr>
                <a:t>Unit of measure</a:t>
              </a:r>
            </a:p>
          </p:txBody>
        </p:sp>
        <p:sp>
          <p:nvSpPr>
            <p:cNvPr id="15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</a:t>
              </a:r>
              <a:r>
                <a:rPr lang="en-US" sz="1200" smtClean="0">
                  <a:solidFill>
                    <a:srgbClr val="000000"/>
                  </a:solidFill>
                  <a:latin typeface="Arial" charset="0"/>
                </a:rPr>
                <a:t>*</a:t>
              </a: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Сноска</a:t>
              </a:r>
              <a:endParaRPr lang="en-US" sz="1200" smtClean="0">
                <a:solidFill>
                  <a:srgbClr val="000000"/>
                </a:solidFill>
                <a:latin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Источник</a:t>
              </a:r>
              <a:r>
                <a:rPr lang="en-US" sz="1200" smtClean="0">
                  <a:solidFill>
                    <a:srgbClr val="000000"/>
                  </a:solidFill>
                  <a:latin typeface="Arial" charset="0"/>
                </a:rPr>
                <a:t>:</a:t>
              </a: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Источник</a:t>
              </a:r>
              <a:endParaRPr lang="en-US" sz="12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5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199438" y="2765425"/>
            <a:ext cx="1747837" cy="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 charset="0"/>
              </a:rPr>
              <a:t>Working Draft - Last Modified 09/06/2006 21:40:09</a:t>
            </a:r>
          </a:p>
        </p:txBody>
      </p:sp>
      <p:sp>
        <p:nvSpPr>
          <p:cNvPr id="15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79644" y="4302919"/>
            <a:ext cx="987425" cy="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 charset="0"/>
              </a:rPr>
              <a:t>Printed 08/06/2006 17:52:59</a:t>
            </a:r>
          </a:p>
        </p:txBody>
      </p:sp>
      <p:graphicFrame>
        <p:nvGraphicFramePr>
          <p:cNvPr id="160" name="Rectangle 38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94914" r:id="rId10" imgW="0" imgH="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3" cy="294794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124729" y="1299036"/>
            <a:ext cx="8794113" cy="246221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161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fld id="{F38CF01A-8DF3-40AB-8879-DFEB7557D58A}" type="slidenum">
              <a:rPr lang="en-US" altLang="ru-RU"/>
              <a:pPr/>
              <a:t>‹#›</a:t>
            </a:fld>
            <a:endParaRPr lang="en-US" altLang="ru-RU"/>
          </a:p>
        </p:txBody>
      </p:sp>
      <p:sp>
        <p:nvSpPr>
          <p:cNvPr id="162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1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22225"/>
            <a:ext cx="9145588" cy="241300"/>
            <a:chOff x="-4" y="-14"/>
            <a:chExt cx="5646" cy="149"/>
          </a:xfrm>
        </p:grpSpPr>
        <p:sp>
          <p:nvSpPr>
            <p:cNvPr id="5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9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2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6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7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8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9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2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3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4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5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6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7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8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9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0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1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2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3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4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5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6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7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8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9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0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1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2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3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4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5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6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6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7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8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9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0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1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2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3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1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4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5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6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7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8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9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0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1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2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3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4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5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6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7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8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9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0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1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2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3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4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5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7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6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7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8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9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0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1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2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2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3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4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5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6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7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8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9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0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1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2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3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4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5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6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7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8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0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1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2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3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4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3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5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6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7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8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9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0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2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1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2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3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4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5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6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37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7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8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9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0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1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2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3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4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5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6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7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8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9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0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1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2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3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4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5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6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7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8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3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9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0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1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1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3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2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3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4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5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5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6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7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8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9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50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20638"/>
            <a:ext cx="2611438" cy="239713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93196" tIns="46599" rIns="93196" bIns="46599"/>
          <a:lstStyle/>
          <a:p>
            <a:endParaRPr lang="ru-RU"/>
          </a:p>
        </p:txBody>
      </p:sp>
      <p:sp>
        <p:nvSpPr>
          <p:cNvPr id="151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50" y="-26988"/>
            <a:ext cx="9174163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96" tIns="46648" rIns="93296" bIns="46648"/>
          <a:lstStyle/>
          <a:p>
            <a:endParaRPr lang="ru-RU"/>
          </a:p>
        </p:txBody>
      </p:sp>
      <p:grpSp>
        <p:nvGrpSpPr>
          <p:cNvPr id="152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763" y="6616700"/>
            <a:ext cx="9140825" cy="263525"/>
            <a:chOff x="3" y="4085"/>
            <a:chExt cx="5643" cy="163"/>
          </a:xfrm>
        </p:grpSpPr>
        <p:sp>
          <p:nvSpPr>
            <p:cNvPr id="153" name="Rectangle 36"/>
            <p:cNvSpPr>
              <a:spLocks noChangeArrowheads="1"/>
            </p:cNvSpPr>
            <p:nvPr userDrawn="1">
              <p:custDataLst>
                <p:tags r:id="rId10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342" tIns="45672" rIns="91342" bIns="45672" anchor="ctr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4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52 h 164"/>
                <a:gd name="T4" fmla="*/ 1612 w 1612"/>
                <a:gd name="T5" fmla="*/ 15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 rot="10800000" lIns="91342" tIns="45672" rIns="91342" bIns="45672"/>
            <a:lstStyle/>
            <a:p>
              <a:endParaRPr lang="ru-RU"/>
            </a:p>
          </p:txBody>
        </p:sp>
      </p:grpSp>
      <p:grpSp>
        <p:nvGrpSpPr>
          <p:cNvPr id="155" name="McK Slide Elements"/>
          <p:cNvGrpSpPr>
            <a:grpSpLocks/>
          </p:cNvGrpSpPr>
          <p:nvPr/>
        </p:nvGrpSpPr>
        <p:grpSpPr bwMode="auto">
          <a:xfrm>
            <a:off x="125413" y="542925"/>
            <a:ext cx="8793162" cy="6288088"/>
            <a:chOff x="77" y="335"/>
            <a:chExt cx="5429" cy="3882"/>
          </a:xfrm>
        </p:grpSpPr>
        <p:sp>
          <p:nvSpPr>
            <p:cNvPr id="15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smtClean="0">
                  <a:solidFill>
                    <a:srgbClr val="000000"/>
                  </a:solidFill>
                  <a:latin typeface="Arial" charset="0"/>
                </a:rPr>
                <a:t>Unit of measure</a:t>
              </a:r>
            </a:p>
          </p:txBody>
        </p:sp>
        <p:sp>
          <p:nvSpPr>
            <p:cNvPr id="15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</a:t>
              </a:r>
              <a:r>
                <a:rPr lang="en-US" sz="1200" smtClean="0">
                  <a:solidFill>
                    <a:srgbClr val="000000"/>
                  </a:solidFill>
                  <a:latin typeface="Arial" charset="0"/>
                </a:rPr>
                <a:t>*</a:t>
              </a: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Сноска</a:t>
              </a:r>
              <a:endParaRPr lang="en-US" sz="1200" smtClean="0">
                <a:solidFill>
                  <a:srgbClr val="000000"/>
                </a:solidFill>
                <a:latin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Источник</a:t>
              </a:r>
              <a:r>
                <a:rPr lang="en-US" sz="1200" smtClean="0">
                  <a:solidFill>
                    <a:srgbClr val="000000"/>
                  </a:solidFill>
                  <a:latin typeface="Arial" charset="0"/>
                </a:rPr>
                <a:t>:</a:t>
              </a: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Источник</a:t>
              </a:r>
              <a:endParaRPr lang="en-US" sz="12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5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199438" y="2765425"/>
            <a:ext cx="1747837" cy="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 charset="0"/>
              </a:rPr>
              <a:t>Working Draft - Last Modified 09/06/2006 21:40:09</a:t>
            </a:r>
          </a:p>
        </p:txBody>
      </p:sp>
      <p:sp>
        <p:nvSpPr>
          <p:cNvPr id="15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79644" y="4302919"/>
            <a:ext cx="987425" cy="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 charset="0"/>
              </a:rPr>
              <a:t>Printed 08/06/2006 17:52:59</a:t>
            </a:r>
          </a:p>
        </p:txBody>
      </p:sp>
      <p:graphicFrame>
        <p:nvGraphicFramePr>
          <p:cNvPr id="160" name="Rectangle 38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81602" r:id="rId12" imgW="0" imgH="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49" y="4407327"/>
            <a:ext cx="7771995" cy="630942"/>
          </a:xfrm>
        </p:spPr>
        <p:txBody>
          <a:bodyPr/>
          <a:lstStyle>
            <a:lvl1pPr algn="l">
              <a:defRPr sz="41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49" y="4099550"/>
            <a:ext cx="777199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66481" indent="0">
              <a:buNone/>
              <a:defRPr sz="1800"/>
            </a:lvl2pPr>
            <a:lvl3pPr marL="932962" indent="0">
              <a:buNone/>
              <a:defRPr sz="1600"/>
            </a:lvl3pPr>
            <a:lvl4pPr marL="1399443" indent="0">
              <a:buNone/>
              <a:defRPr sz="1400"/>
            </a:lvl4pPr>
            <a:lvl5pPr marL="1865925" indent="0">
              <a:buNone/>
              <a:defRPr sz="1400"/>
            </a:lvl5pPr>
            <a:lvl6pPr marL="2332406" indent="0">
              <a:buNone/>
              <a:defRPr sz="1400"/>
            </a:lvl6pPr>
            <a:lvl7pPr marL="2798887" indent="0">
              <a:buNone/>
              <a:defRPr sz="1400"/>
            </a:lvl7pPr>
            <a:lvl8pPr marL="3265368" indent="0">
              <a:buNone/>
              <a:defRPr sz="1400"/>
            </a:lvl8pPr>
            <a:lvl9pPr marL="3731849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1" name="pg num"/>
          <p:cNvSpPr>
            <a:spLocks noGrp="1" noChangeArrowheads="1"/>
          </p:cNvSpPr>
          <p:nvPr>
            <p:ph type="sldNum" sz="quarter" idx="10"/>
            <p:custDataLst>
              <p:tags r:id="rId8"/>
            </p:custDataLst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fld id="{7DB74DBD-08B8-4CBD-A2BD-6B277D6F82EE}" type="slidenum">
              <a:rPr lang="en-US" altLang="ru-RU"/>
              <a:pPr/>
              <a:t>‹#›</a:t>
            </a:fld>
            <a:endParaRPr lang="en-US" altLang="ru-RU"/>
          </a:p>
        </p:txBody>
      </p:sp>
      <p:sp>
        <p:nvSpPr>
          <p:cNvPr id="162" name="doc id"/>
          <p:cNvSpPr>
            <a:spLocks noGrp="1" noChangeArrowheads="1"/>
          </p:cNvSpPr>
          <p:nvPr>
            <p:ph type="ftr" sz="quarter" idx="11"/>
            <p:custDataLst>
              <p:tags r:id="rId9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1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22225"/>
            <a:ext cx="9145588" cy="241300"/>
            <a:chOff x="-4" y="-14"/>
            <a:chExt cx="5646" cy="149"/>
          </a:xfrm>
        </p:grpSpPr>
        <p:sp>
          <p:nvSpPr>
            <p:cNvPr id="6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9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2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6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7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8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9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2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3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4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5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6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7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8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9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0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1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2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3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4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5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6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7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8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9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0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1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2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3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4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5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6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7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6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8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9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0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1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2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3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4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1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5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6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7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8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9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0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1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2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3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4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5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6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7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8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9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0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1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2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3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4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5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6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7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7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8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9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0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1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2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3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2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4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5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6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7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8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9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0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1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2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3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4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5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6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7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8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0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1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2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3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4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5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3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6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7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8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9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0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1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2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2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3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4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5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6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7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37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8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9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0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1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2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3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4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5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6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7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8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9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0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1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2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3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4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5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6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7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8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9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3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0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1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1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2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3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3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4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5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6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5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7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8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9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0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51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20638"/>
            <a:ext cx="2611438" cy="239713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93196" tIns="46599" rIns="93196" bIns="46599"/>
          <a:lstStyle/>
          <a:p>
            <a:endParaRPr lang="ru-RU"/>
          </a:p>
        </p:txBody>
      </p:sp>
      <p:sp>
        <p:nvSpPr>
          <p:cNvPr id="152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50" y="-26988"/>
            <a:ext cx="9174163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96" tIns="46648" rIns="93296" bIns="46648"/>
          <a:lstStyle/>
          <a:p>
            <a:endParaRPr lang="ru-RU"/>
          </a:p>
        </p:txBody>
      </p:sp>
      <p:grpSp>
        <p:nvGrpSpPr>
          <p:cNvPr id="153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763" y="6616700"/>
            <a:ext cx="9140825" cy="263525"/>
            <a:chOff x="3" y="4085"/>
            <a:chExt cx="5643" cy="163"/>
          </a:xfrm>
        </p:grpSpPr>
        <p:sp>
          <p:nvSpPr>
            <p:cNvPr id="154" name="Rectangle 36"/>
            <p:cNvSpPr>
              <a:spLocks noChangeArrowheads="1"/>
            </p:cNvSpPr>
            <p:nvPr userDrawn="1">
              <p:custDataLst>
                <p:tags r:id="rId10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342" tIns="45672" rIns="91342" bIns="45672" anchor="ctr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5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52 h 164"/>
                <a:gd name="T4" fmla="*/ 1612 w 1612"/>
                <a:gd name="T5" fmla="*/ 15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 rot="10800000" lIns="91342" tIns="45672" rIns="91342" bIns="45672"/>
            <a:lstStyle/>
            <a:p>
              <a:endParaRPr lang="ru-RU"/>
            </a:p>
          </p:txBody>
        </p:sp>
      </p:grpSp>
      <p:grpSp>
        <p:nvGrpSpPr>
          <p:cNvPr id="156" name="McK Slide Elements"/>
          <p:cNvGrpSpPr>
            <a:grpSpLocks/>
          </p:cNvGrpSpPr>
          <p:nvPr/>
        </p:nvGrpSpPr>
        <p:grpSpPr bwMode="auto">
          <a:xfrm>
            <a:off x="125413" y="542925"/>
            <a:ext cx="8793162" cy="6288088"/>
            <a:chOff x="77" y="335"/>
            <a:chExt cx="5429" cy="3882"/>
          </a:xfrm>
        </p:grpSpPr>
        <p:sp>
          <p:nvSpPr>
            <p:cNvPr id="157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smtClean="0">
                  <a:solidFill>
                    <a:srgbClr val="000000"/>
                  </a:solidFill>
                  <a:latin typeface="Arial" charset="0"/>
                </a:rPr>
                <a:t>Unit of measure</a:t>
              </a:r>
            </a:p>
          </p:txBody>
        </p:sp>
        <p:sp>
          <p:nvSpPr>
            <p:cNvPr id="158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</a:t>
              </a:r>
              <a:r>
                <a:rPr lang="en-US" sz="1200" smtClean="0">
                  <a:solidFill>
                    <a:srgbClr val="000000"/>
                  </a:solidFill>
                  <a:latin typeface="Arial" charset="0"/>
                </a:rPr>
                <a:t>*</a:t>
              </a: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Сноска</a:t>
              </a:r>
              <a:endParaRPr lang="en-US" sz="1200" smtClean="0">
                <a:solidFill>
                  <a:srgbClr val="000000"/>
                </a:solidFill>
                <a:latin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Источник</a:t>
              </a:r>
              <a:r>
                <a:rPr lang="en-US" sz="1200" smtClean="0">
                  <a:solidFill>
                    <a:srgbClr val="000000"/>
                  </a:solidFill>
                  <a:latin typeface="Arial" charset="0"/>
                </a:rPr>
                <a:t>:</a:t>
              </a: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Источник</a:t>
              </a:r>
              <a:endParaRPr lang="en-US" sz="12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59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199438" y="2765425"/>
            <a:ext cx="1747837" cy="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 charset="0"/>
              </a:rPr>
              <a:t>Working Draft - Last Modified 09/06/2006 21:40:09</a:t>
            </a:r>
          </a:p>
        </p:txBody>
      </p:sp>
      <p:sp>
        <p:nvSpPr>
          <p:cNvPr id="160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79644" y="4302919"/>
            <a:ext cx="987425" cy="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 charset="0"/>
              </a:rPr>
              <a:t>Printed 08/06/2006 17:52:59</a:t>
            </a:r>
          </a:p>
        </p:txBody>
      </p:sp>
      <p:graphicFrame>
        <p:nvGraphicFramePr>
          <p:cNvPr id="161" name="Rectangle 38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82626" r:id="rId12" imgW="0" imgH="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4729" y="1299036"/>
            <a:ext cx="4318495" cy="1677382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98728" y="1299036"/>
            <a:ext cx="4320114" cy="1677382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2" name="pg num"/>
          <p:cNvSpPr>
            <a:spLocks noGrp="1" noChangeArrowheads="1"/>
          </p:cNvSpPr>
          <p:nvPr>
            <p:ph type="sldNum" sz="quarter" idx="10"/>
            <p:custDataLst>
              <p:tags r:id="rId8"/>
            </p:custDataLst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fld id="{78767931-E2A3-43BF-A5C8-A5BED1374E69}" type="slidenum">
              <a:rPr lang="en-US" altLang="ru-RU"/>
              <a:pPr/>
              <a:t>‹#›</a:t>
            </a:fld>
            <a:endParaRPr lang="en-US" altLang="ru-RU"/>
          </a:p>
        </p:txBody>
      </p:sp>
      <p:sp>
        <p:nvSpPr>
          <p:cNvPr id="163" name="doc id"/>
          <p:cNvSpPr>
            <a:spLocks noGrp="1" noChangeArrowheads="1"/>
          </p:cNvSpPr>
          <p:nvPr>
            <p:ph type="ftr" sz="quarter" idx="11"/>
            <p:custDataLst>
              <p:tags r:id="rId9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1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22225"/>
            <a:ext cx="9145588" cy="241300"/>
            <a:chOff x="-4" y="-14"/>
            <a:chExt cx="5646" cy="149"/>
          </a:xfrm>
        </p:grpSpPr>
        <p:sp>
          <p:nvSpPr>
            <p:cNvPr id="8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9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6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7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2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8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9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2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3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4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5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6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7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8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9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0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1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2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3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4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5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6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7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8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9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0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1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2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3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4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5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6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7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8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9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6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0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1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2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3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4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5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6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1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7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8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9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0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1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2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3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4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5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6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7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8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9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0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1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2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3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4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5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6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7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8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7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9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0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1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2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3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4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5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2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6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7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8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9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0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1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2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3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4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5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6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7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8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0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1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2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3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4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5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6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7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3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8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9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0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1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2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3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2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4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5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6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7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8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9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37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0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1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2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3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4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5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6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7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8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9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0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1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2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3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4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5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6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7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8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9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0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1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3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2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3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1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4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3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5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6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7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8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5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9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0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1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2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53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20638"/>
            <a:ext cx="2611438" cy="239713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93196" tIns="46599" rIns="93196" bIns="46599"/>
          <a:lstStyle/>
          <a:p>
            <a:endParaRPr lang="ru-RU"/>
          </a:p>
        </p:txBody>
      </p:sp>
      <p:sp>
        <p:nvSpPr>
          <p:cNvPr id="154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50" y="-26988"/>
            <a:ext cx="9174163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96" tIns="46648" rIns="93296" bIns="46648"/>
          <a:lstStyle/>
          <a:p>
            <a:endParaRPr lang="ru-RU"/>
          </a:p>
        </p:txBody>
      </p:sp>
      <p:grpSp>
        <p:nvGrpSpPr>
          <p:cNvPr id="155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763" y="6616700"/>
            <a:ext cx="9140825" cy="263525"/>
            <a:chOff x="3" y="4085"/>
            <a:chExt cx="5643" cy="163"/>
          </a:xfrm>
        </p:grpSpPr>
        <p:sp>
          <p:nvSpPr>
            <p:cNvPr id="156" name="Rectangle 36"/>
            <p:cNvSpPr>
              <a:spLocks noChangeArrowheads="1"/>
            </p:cNvSpPr>
            <p:nvPr userDrawn="1">
              <p:custDataLst>
                <p:tags r:id="rId10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342" tIns="45672" rIns="91342" bIns="45672" anchor="ctr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7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52 h 164"/>
                <a:gd name="T4" fmla="*/ 1612 w 1612"/>
                <a:gd name="T5" fmla="*/ 15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 rot="10800000" lIns="91342" tIns="45672" rIns="91342" bIns="45672"/>
            <a:lstStyle/>
            <a:p>
              <a:endParaRPr lang="ru-RU"/>
            </a:p>
          </p:txBody>
        </p:sp>
      </p:grpSp>
      <p:grpSp>
        <p:nvGrpSpPr>
          <p:cNvPr id="158" name="McK Slide Elements"/>
          <p:cNvGrpSpPr>
            <a:grpSpLocks/>
          </p:cNvGrpSpPr>
          <p:nvPr/>
        </p:nvGrpSpPr>
        <p:grpSpPr bwMode="auto">
          <a:xfrm>
            <a:off x="125413" y="542925"/>
            <a:ext cx="8793162" cy="6288088"/>
            <a:chOff x="77" y="335"/>
            <a:chExt cx="5429" cy="3882"/>
          </a:xfrm>
        </p:grpSpPr>
        <p:sp>
          <p:nvSpPr>
            <p:cNvPr id="159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smtClean="0">
                  <a:solidFill>
                    <a:srgbClr val="000000"/>
                  </a:solidFill>
                  <a:latin typeface="Arial" charset="0"/>
                </a:rPr>
                <a:t>Unit of measure</a:t>
              </a:r>
            </a:p>
          </p:txBody>
        </p:sp>
        <p:sp>
          <p:nvSpPr>
            <p:cNvPr id="160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</a:t>
              </a:r>
              <a:r>
                <a:rPr lang="en-US" sz="1200" smtClean="0">
                  <a:solidFill>
                    <a:srgbClr val="000000"/>
                  </a:solidFill>
                  <a:latin typeface="Arial" charset="0"/>
                </a:rPr>
                <a:t>*</a:t>
              </a: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Сноска</a:t>
              </a:r>
              <a:endParaRPr lang="en-US" sz="1200" smtClean="0">
                <a:solidFill>
                  <a:srgbClr val="000000"/>
                </a:solidFill>
                <a:latin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Источник</a:t>
              </a:r>
              <a:r>
                <a:rPr lang="en-US" sz="1200" smtClean="0">
                  <a:solidFill>
                    <a:srgbClr val="000000"/>
                  </a:solidFill>
                  <a:latin typeface="Arial" charset="0"/>
                </a:rPr>
                <a:t>:</a:t>
              </a: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Источник</a:t>
              </a:r>
              <a:endParaRPr lang="en-US" sz="12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61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199438" y="2765425"/>
            <a:ext cx="1747837" cy="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 charset="0"/>
              </a:rPr>
              <a:t>Working Draft - Last Modified 09/06/2006 21:40:09</a:t>
            </a:r>
          </a:p>
        </p:txBody>
      </p:sp>
      <p:sp>
        <p:nvSpPr>
          <p:cNvPr id="162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79644" y="4302919"/>
            <a:ext cx="987425" cy="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 charset="0"/>
              </a:rPr>
              <a:t>Printed 08/06/2006 17:52:59</a:t>
            </a:r>
          </a:p>
        </p:txBody>
      </p:sp>
      <p:graphicFrame>
        <p:nvGraphicFramePr>
          <p:cNvPr id="163" name="Rectangle 38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83650" r:id="rId12" imgW="0" imgH="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275356"/>
            <a:ext cx="8230410" cy="2923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6796" y="1805987"/>
            <a:ext cx="4039882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6796" y="2175318"/>
            <a:ext cx="4039882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703" y="1805987"/>
            <a:ext cx="4041502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481" indent="0">
              <a:buNone/>
              <a:defRPr sz="2000" b="1"/>
            </a:lvl2pPr>
            <a:lvl3pPr marL="932962" indent="0">
              <a:buNone/>
              <a:defRPr sz="1800" b="1"/>
            </a:lvl3pPr>
            <a:lvl4pPr marL="1399443" indent="0">
              <a:buNone/>
              <a:defRPr sz="1600" b="1"/>
            </a:lvl4pPr>
            <a:lvl5pPr marL="1865925" indent="0">
              <a:buNone/>
              <a:defRPr sz="1600" b="1"/>
            </a:lvl5pPr>
            <a:lvl6pPr marL="2332406" indent="0">
              <a:buNone/>
              <a:defRPr sz="1600" b="1"/>
            </a:lvl6pPr>
            <a:lvl7pPr marL="2798887" indent="0">
              <a:buNone/>
              <a:defRPr sz="1600" b="1"/>
            </a:lvl7pPr>
            <a:lvl8pPr marL="3265368" indent="0">
              <a:buNone/>
              <a:defRPr sz="1600" b="1"/>
            </a:lvl8pPr>
            <a:lvl9pPr marL="373184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703" y="2175318"/>
            <a:ext cx="4041502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4" name="pg num"/>
          <p:cNvSpPr>
            <a:spLocks noGrp="1" noChangeArrowheads="1"/>
          </p:cNvSpPr>
          <p:nvPr>
            <p:ph type="sldNum" sz="quarter" idx="10"/>
            <p:custDataLst>
              <p:tags r:id="rId8"/>
            </p:custDataLst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fld id="{B22D28C0-8FF6-411E-B822-38A3CF8853E0}" type="slidenum">
              <a:rPr lang="en-US" altLang="ru-RU"/>
              <a:pPr/>
              <a:t>‹#›</a:t>
            </a:fld>
            <a:endParaRPr lang="en-US" altLang="ru-RU"/>
          </a:p>
        </p:txBody>
      </p:sp>
      <p:sp>
        <p:nvSpPr>
          <p:cNvPr id="165" name="doc id"/>
          <p:cNvSpPr>
            <a:spLocks noGrp="1" noChangeArrowheads="1"/>
          </p:cNvSpPr>
          <p:nvPr>
            <p:ph type="ftr" sz="quarter" idx="11"/>
            <p:custDataLst>
              <p:tags r:id="rId9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1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22225"/>
            <a:ext cx="9145588" cy="241300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9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2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6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1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7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2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3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2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37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3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1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3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5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20638"/>
            <a:ext cx="2611438" cy="239713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93196" tIns="46599" rIns="93196" bIns="46599"/>
          <a:lstStyle/>
          <a:p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50" y="-26988"/>
            <a:ext cx="9174163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96" tIns="46648" rIns="93296" bIns="46648"/>
          <a:lstStyle/>
          <a:p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763" y="6616700"/>
            <a:ext cx="9140825" cy="263525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0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342" tIns="45672" rIns="91342" bIns="45672" anchor="ctr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52 h 164"/>
                <a:gd name="T4" fmla="*/ 1612 w 1612"/>
                <a:gd name="T5" fmla="*/ 15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 rot="10800000" lIns="91342" tIns="45672" rIns="91342" bIns="45672"/>
            <a:lstStyle/>
            <a:p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125413" y="542925"/>
            <a:ext cx="8793162" cy="6288088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smtClean="0">
                  <a:solidFill>
                    <a:srgbClr val="000000"/>
                  </a:solidFill>
                  <a:latin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</a:t>
              </a:r>
              <a:r>
                <a:rPr lang="en-US" sz="1200" smtClean="0">
                  <a:solidFill>
                    <a:srgbClr val="000000"/>
                  </a:solidFill>
                  <a:latin typeface="Arial" charset="0"/>
                </a:rPr>
                <a:t>*</a:t>
              </a: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Сноска</a:t>
              </a:r>
              <a:endParaRPr lang="en-US" sz="1200" smtClean="0">
                <a:solidFill>
                  <a:srgbClr val="000000"/>
                </a:solidFill>
                <a:latin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Источник</a:t>
              </a:r>
              <a:r>
                <a:rPr lang="en-US" sz="1200" smtClean="0">
                  <a:solidFill>
                    <a:srgbClr val="000000"/>
                  </a:solidFill>
                  <a:latin typeface="Arial" charset="0"/>
                </a:rPr>
                <a:t>:</a:t>
              </a: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Источник</a:t>
              </a:r>
              <a:endParaRPr lang="en-US" sz="12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199438" y="2765425"/>
            <a:ext cx="1747837" cy="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79644" y="4302919"/>
            <a:ext cx="987425" cy="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 charset="0"/>
              </a:rPr>
              <a:t>Printed 08/06/2006 17:52:59</a:t>
            </a:r>
          </a:p>
        </p:txBody>
      </p:sp>
      <p:graphicFrame>
        <p:nvGraphicFramePr>
          <p:cNvPr id="159" name="Rectangle 38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84674" r:id="rId12" imgW="0" imgH="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8"/>
            </p:custDataLst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fld id="{43F02102-4280-4574-9E62-07BB6CC24FE3}" type="slidenum">
              <a:rPr lang="en-US" altLang="ru-RU"/>
              <a:pPr/>
              <a:t>‹#›</a:t>
            </a:fld>
            <a:endParaRPr lang="en-US" alt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9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1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22225"/>
            <a:ext cx="9145588" cy="241300"/>
            <a:chOff x="-4" y="-14"/>
            <a:chExt cx="5646" cy="149"/>
          </a:xfrm>
        </p:grpSpPr>
        <p:sp>
          <p:nvSpPr>
            <p:cNvPr id="3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9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2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6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7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8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9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2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3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4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5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6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7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8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9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0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1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2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3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4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5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6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7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8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9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0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1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2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3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4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6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5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6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7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8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9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0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1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1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2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3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4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5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6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7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8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9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0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1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2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3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4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5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6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7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8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9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0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1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2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3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7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4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5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6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7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8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9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0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2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1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2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3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4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5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6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7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8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9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0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1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2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3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4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5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6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7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8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0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1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2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3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3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4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5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6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7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8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2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9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0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1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2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3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4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37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5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6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7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8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9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0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1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2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3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4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5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6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7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8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9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0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1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2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3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4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5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6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3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7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8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1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9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3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0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1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2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3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5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4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5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6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7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48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20638"/>
            <a:ext cx="2611438" cy="239713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93196" tIns="46599" rIns="93196" bIns="46599"/>
          <a:lstStyle/>
          <a:p>
            <a:endParaRPr lang="ru-RU"/>
          </a:p>
        </p:txBody>
      </p:sp>
      <p:sp>
        <p:nvSpPr>
          <p:cNvPr id="149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50" y="-26988"/>
            <a:ext cx="9174163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96" tIns="46648" rIns="93296" bIns="46648"/>
          <a:lstStyle/>
          <a:p>
            <a:endParaRPr lang="ru-RU"/>
          </a:p>
        </p:txBody>
      </p:sp>
      <p:grpSp>
        <p:nvGrpSpPr>
          <p:cNvPr id="150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763" y="6616700"/>
            <a:ext cx="9140825" cy="263525"/>
            <a:chOff x="3" y="4085"/>
            <a:chExt cx="5643" cy="163"/>
          </a:xfrm>
        </p:grpSpPr>
        <p:sp>
          <p:nvSpPr>
            <p:cNvPr id="151" name="Rectangle 36"/>
            <p:cNvSpPr>
              <a:spLocks noChangeArrowheads="1"/>
            </p:cNvSpPr>
            <p:nvPr userDrawn="1">
              <p:custDataLst>
                <p:tags r:id="rId10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342" tIns="45672" rIns="91342" bIns="45672" anchor="ctr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2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52 h 164"/>
                <a:gd name="T4" fmla="*/ 1612 w 1612"/>
                <a:gd name="T5" fmla="*/ 15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 rot="10800000" lIns="91342" tIns="45672" rIns="91342" bIns="45672"/>
            <a:lstStyle/>
            <a:p>
              <a:endParaRPr lang="ru-RU"/>
            </a:p>
          </p:txBody>
        </p:sp>
      </p:grpSp>
      <p:grpSp>
        <p:nvGrpSpPr>
          <p:cNvPr id="153" name="McK Slide Elements"/>
          <p:cNvGrpSpPr>
            <a:grpSpLocks/>
          </p:cNvGrpSpPr>
          <p:nvPr/>
        </p:nvGrpSpPr>
        <p:grpSpPr bwMode="auto">
          <a:xfrm>
            <a:off x="125413" y="542925"/>
            <a:ext cx="8793162" cy="6288088"/>
            <a:chOff x="77" y="335"/>
            <a:chExt cx="5429" cy="3882"/>
          </a:xfrm>
        </p:grpSpPr>
        <p:sp>
          <p:nvSpPr>
            <p:cNvPr id="154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smtClean="0">
                  <a:solidFill>
                    <a:srgbClr val="000000"/>
                  </a:solidFill>
                  <a:latin typeface="Arial" charset="0"/>
                </a:rPr>
                <a:t>Unit of measure</a:t>
              </a:r>
            </a:p>
          </p:txBody>
        </p:sp>
        <p:sp>
          <p:nvSpPr>
            <p:cNvPr id="155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</a:t>
              </a:r>
              <a:r>
                <a:rPr lang="en-US" sz="1200" smtClean="0">
                  <a:solidFill>
                    <a:srgbClr val="000000"/>
                  </a:solidFill>
                  <a:latin typeface="Arial" charset="0"/>
                </a:rPr>
                <a:t>*</a:t>
              </a: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Сноска</a:t>
              </a:r>
              <a:endParaRPr lang="en-US" sz="1200" smtClean="0">
                <a:solidFill>
                  <a:srgbClr val="000000"/>
                </a:solidFill>
                <a:latin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Источник</a:t>
              </a:r>
              <a:r>
                <a:rPr lang="en-US" sz="1200" smtClean="0">
                  <a:solidFill>
                    <a:srgbClr val="000000"/>
                  </a:solidFill>
                  <a:latin typeface="Arial" charset="0"/>
                </a:rPr>
                <a:t>:</a:t>
              </a: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Источник</a:t>
              </a:r>
              <a:endParaRPr lang="en-US" sz="12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56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199438" y="2765425"/>
            <a:ext cx="1747837" cy="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 charset="0"/>
              </a:rPr>
              <a:t>Working Draft - Last Modified 09/06/2006 21:40:09</a:t>
            </a:r>
          </a:p>
        </p:txBody>
      </p:sp>
      <p:sp>
        <p:nvSpPr>
          <p:cNvPr id="157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79644" y="4302919"/>
            <a:ext cx="987425" cy="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 charset="0"/>
              </a:rPr>
              <a:t>Printed 08/06/2006 17:52:59</a:t>
            </a:r>
          </a:p>
        </p:txBody>
      </p:sp>
      <p:graphicFrame>
        <p:nvGraphicFramePr>
          <p:cNvPr id="158" name="Rectangle 38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85698" r:id="rId12" imgW="0" imgH="0" progId="">
              <p:embed/>
            </p:oleObj>
          </a:graphicData>
        </a:graphic>
      </p:graphicFrame>
      <p:sp>
        <p:nvSpPr>
          <p:cNvPr id="159" name="pg num"/>
          <p:cNvSpPr>
            <a:spLocks noGrp="1" noChangeArrowheads="1"/>
          </p:cNvSpPr>
          <p:nvPr>
            <p:ph type="sldNum" sz="quarter" idx="10"/>
            <p:custDataLst>
              <p:tags r:id="rId8"/>
            </p:custDataLst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fld id="{5971252B-EC96-4AB6-A381-959EFD3DAA14}" type="slidenum">
              <a:rPr lang="en-US" altLang="ru-RU"/>
              <a:pPr/>
              <a:t>‹#›</a:t>
            </a:fld>
            <a:endParaRPr lang="en-US" altLang="ru-RU"/>
          </a:p>
        </p:txBody>
      </p:sp>
      <p:sp>
        <p:nvSpPr>
          <p:cNvPr id="160" name="doc id"/>
          <p:cNvSpPr>
            <a:spLocks noGrp="1" noChangeArrowheads="1"/>
          </p:cNvSpPr>
          <p:nvPr>
            <p:ph type="ftr" sz="quarter" idx="11"/>
            <p:custDataLst>
              <p:tags r:id="rId9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1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22225"/>
            <a:ext cx="9145588" cy="241300"/>
            <a:chOff x="-4" y="-14"/>
            <a:chExt cx="5646" cy="149"/>
          </a:xfrm>
        </p:grpSpPr>
        <p:sp>
          <p:nvSpPr>
            <p:cNvPr id="6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9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2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6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7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8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9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2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3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4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5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6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7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8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9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0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1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2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3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4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5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6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7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8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9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0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1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2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3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4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5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6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7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6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8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9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0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1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2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3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4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1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5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6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7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8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9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0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1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2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3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4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5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6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7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8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9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0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1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2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3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4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5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6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7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7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8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9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0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1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2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3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2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4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5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6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7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8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9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0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1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2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3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4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5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6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7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8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0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1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2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3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4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5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3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6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7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8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9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0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1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2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2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3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4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5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6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7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37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8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9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0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1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2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3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4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5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6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7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8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9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0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1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2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3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4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5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6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7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8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9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3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0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1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1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2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3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3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4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5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6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5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7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8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9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0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51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20638"/>
            <a:ext cx="2611438" cy="239713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93196" tIns="46599" rIns="93196" bIns="46599"/>
          <a:lstStyle/>
          <a:p>
            <a:endParaRPr lang="ru-RU"/>
          </a:p>
        </p:txBody>
      </p:sp>
      <p:sp>
        <p:nvSpPr>
          <p:cNvPr id="152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50" y="-26988"/>
            <a:ext cx="9174163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96" tIns="46648" rIns="93296" bIns="46648"/>
          <a:lstStyle/>
          <a:p>
            <a:endParaRPr lang="ru-RU"/>
          </a:p>
        </p:txBody>
      </p:sp>
      <p:grpSp>
        <p:nvGrpSpPr>
          <p:cNvPr id="153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763" y="6616700"/>
            <a:ext cx="9140825" cy="263525"/>
            <a:chOff x="3" y="4085"/>
            <a:chExt cx="5643" cy="163"/>
          </a:xfrm>
        </p:grpSpPr>
        <p:sp>
          <p:nvSpPr>
            <p:cNvPr id="154" name="Rectangle 36"/>
            <p:cNvSpPr>
              <a:spLocks noChangeArrowheads="1"/>
            </p:cNvSpPr>
            <p:nvPr userDrawn="1">
              <p:custDataLst>
                <p:tags r:id="rId10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342" tIns="45672" rIns="91342" bIns="45672" anchor="ctr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5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52 h 164"/>
                <a:gd name="T4" fmla="*/ 1612 w 1612"/>
                <a:gd name="T5" fmla="*/ 15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 rot="10800000" lIns="91342" tIns="45672" rIns="91342" bIns="45672"/>
            <a:lstStyle/>
            <a:p>
              <a:endParaRPr lang="ru-RU"/>
            </a:p>
          </p:txBody>
        </p:sp>
      </p:grpSp>
      <p:grpSp>
        <p:nvGrpSpPr>
          <p:cNvPr id="156" name="McK Slide Elements"/>
          <p:cNvGrpSpPr>
            <a:grpSpLocks/>
          </p:cNvGrpSpPr>
          <p:nvPr/>
        </p:nvGrpSpPr>
        <p:grpSpPr bwMode="auto">
          <a:xfrm>
            <a:off x="125413" y="542925"/>
            <a:ext cx="8793162" cy="6288088"/>
            <a:chOff x="77" y="335"/>
            <a:chExt cx="5429" cy="3882"/>
          </a:xfrm>
        </p:grpSpPr>
        <p:sp>
          <p:nvSpPr>
            <p:cNvPr id="157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smtClean="0">
                  <a:solidFill>
                    <a:srgbClr val="000000"/>
                  </a:solidFill>
                  <a:latin typeface="Arial" charset="0"/>
                </a:rPr>
                <a:t>Unit of measure</a:t>
              </a:r>
            </a:p>
          </p:txBody>
        </p:sp>
        <p:sp>
          <p:nvSpPr>
            <p:cNvPr id="158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</a:t>
              </a:r>
              <a:r>
                <a:rPr lang="en-US" sz="1200" smtClean="0">
                  <a:solidFill>
                    <a:srgbClr val="000000"/>
                  </a:solidFill>
                  <a:latin typeface="Arial" charset="0"/>
                </a:rPr>
                <a:t>*</a:t>
              </a: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Сноска</a:t>
              </a:r>
              <a:endParaRPr lang="en-US" sz="1200" smtClean="0">
                <a:solidFill>
                  <a:srgbClr val="000000"/>
                </a:solidFill>
                <a:latin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Источник</a:t>
              </a:r>
              <a:r>
                <a:rPr lang="en-US" sz="1200" smtClean="0">
                  <a:solidFill>
                    <a:srgbClr val="000000"/>
                  </a:solidFill>
                  <a:latin typeface="Arial" charset="0"/>
                </a:rPr>
                <a:t>:</a:t>
              </a: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Источник</a:t>
              </a:r>
              <a:endParaRPr lang="en-US" sz="12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59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199438" y="2765425"/>
            <a:ext cx="1747837" cy="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 charset="0"/>
              </a:rPr>
              <a:t>Working Draft - Last Modified 09/06/2006 21:40:09</a:t>
            </a:r>
          </a:p>
        </p:txBody>
      </p:sp>
      <p:sp>
        <p:nvSpPr>
          <p:cNvPr id="160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79644" y="4302919"/>
            <a:ext cx="987425" cy="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 charset="0"/>
              </a:rPr>
              <a:t>Printed 08/06/2006 17:52:59</a:t>
            </a:r>
          </a:p>
        </p:txBody>
      </p:sp>
      <p:graphicFrame>
        <p:nvGraphicFramePr>
          <p:cNvPr id="161" name="Rectangle 38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86722" r:id="rId12" imgW="0" imgH="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5" y="1127318"/>
            <a:ext cx="3008044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4988" y="273738"/>
            <a:ext cx="5112217" cy="1938992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6795" y="1435094"/>
            <a:ext cx="3008044" cy="215444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2" name="pg num"/>
          <p:cNvSpPr>
            <a:spLocks noGrp="1" noChangeArrowheads="1"/>
          </p:cNvSpPr>
          <p:nvPr>
            <p:ph type="sldNum" sz="quarter" idx="10"/>
            <p:custDataLst>
              <p:tags r:id="rId8"/>
            </p:custDataLst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fld id="{5DE17D43-5A57-420E-A49E-432EFD517BA5}" type="slidenum">
              <a:rPr lang="en-US" altLang="ru-RU"/>
              <a:pPr/>
              <a:t>‹#›</a:t>
            </a:fld>
            <a:endParaRPr lang="en-US" altLang="ru-RU"/>
          </a:p>
        </p:txBody>
      </p:sp>
      <p:sp>
        <p:nvSpPr>
          <p:cNvPr id="163" name="doc id"/>
          <p:cNvSpPr>
            <a:spLocks noGrp="1" noChangeArrowheads="1"/>
          </p:cNvSpPr>
          <p:nvPr>
            <p:ph type="ftr" sz="quarter" idx="11"/>
            <p:custDataLst>
              <p:tags r:id="rId9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1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22225"/>
            <a:ext cx="9145588" cy="241300"/>
            <a:chOff x="-4" y="-14"/>
            <a:chExt cx="5646" cy="149"/>
          </a:xfrm>
        </p:grpSpPr>
        <p:sp>
          <p:nvSpPr>
            <p:cNvPr id="6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9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2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6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7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8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9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2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3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4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5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6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7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8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9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0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1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2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3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4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5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6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7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8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9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0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1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2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3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4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5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6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7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6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8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9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0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1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2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3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4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1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5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6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7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8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9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0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1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2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3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4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5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6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7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8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9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0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1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2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3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4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5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6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7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7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8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9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0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1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2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3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2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4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5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6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7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8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9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0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1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2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3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4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5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6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7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8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0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1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2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3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4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5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3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6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7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8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9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0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1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2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2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3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4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5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6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7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37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8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9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0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1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2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3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4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5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6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7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8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9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0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1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2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3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4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5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6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7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8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9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3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0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1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1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2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3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3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4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5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6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5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7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8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9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0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51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20638"/>
            <a:ext cx="2611438" cy="239713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93196" tIns="46599" rIns="93196" bIns="46599"/>
          <a:lstStyle/>
          <a:p>
            <a:endParaRPr lang="ru-RU"/>
          </a:p>
        </p:txBody>
      </p:sp>
      <p:sp>
        <p:nvSpPr>
          <p:cNvPr id="152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50" y="-26988"/>
            <a:ext cx="9174163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96" tIns="46648" rIns="93296" bIns="46648"/>
          <a:lstStyle/>
          <a:p>
            <a:endParaRPr lang="ru-RU"/>
          </a:p>
        </p:txBody>
      </p:sp>
      <p:grpSp>
        <p:nvGrpSpPr>
          <p:cNvPr id="153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763" y="6616700"/>
            <a:ext cx="9140825" cy="263525"/>
            <a:chOff x="3" y="4085"/>
            <a:chExt cx="5643" cy="163"/>
          </a:xfrm>
        </p:grpSpPr>
        <p:sp>
          <p:nvSpPr>
            <p:cNvPr id="154" name="Rectangle 36"/>
            <p:cNvSpPr>
              <a:spLocks noChangeArrowheads="1"/>
            </p:cNvSpPr>
            <p:nvPr userDrawn="1">
              <p:custDataLst>
                <p:tags r:id="rId10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342" tIns="45672" rIns="91342" bIns="45672" anchor="ctr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5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52 h 164"/>
                <a:gd name="T4" fmla="*/ 1612 w 1612"/>
                <a:gd name="T5" fmla="*/ 15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 rot="10800000" lIns="91342" tIns="45672" rIns="91342" bIns="45672"/>
            <a:lstStyle/>
            <a:p>
              <a:endParaRPr lang="ru-RU"/>
            </a:p>
          </p:txBody>
        </p:sp>
      </p:grpSp>
      <p:grpSp>
        <p:nvGrpSpPr>
          <p:cNvPr id="156" name="McK Slide Elements"/>
          <p:cNvGrpSpPr>
            <a:grpSpLocks/>
          </p:cNvGrpSpPr>
          <p:nvPr/>
        </p:nvGrpSpPr>
        <p:grpSpPr bwMode="auto">
          <a:xfrm>
            <a:off x="125413" y="542925"/>
            <a:ext cx="8793162" cy="6288088"/>
            <a:chOff x="77" y="335"/>
            <a:chExt cx="5429" cy="3882"/>
          </a:xfrm>
        </p:grpSpPr>
        <p:sp>
          <p:nvSpPr>
            <p:cNvPr id="157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smtClean="0">
                  <a:solidFill>
                    <a:srgbClr val="000000"/>
                  </a:solidFill>
                  <a:latin typeface="Arial" charset="0"/>
                </a:rPr>
                <a:t>Unit of measure</a:t>
              </a:r>
            </a:p>
          </p:txBody>
        </p:sp>
        <p:sp>
          <p:nvSpPr>
            <p:cNvPr id="158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</a:t>
              </a:r>
              <a:r>
                <a:rPr lang="en-US" sz="1200" smtClean="0">
                  <a:solidFill>
                    <a:srgbClr val="000000"/>
                  </a:solidFill>
                  <a:latin typeface="Arial" charset="0"/>
                </a:rPr>
                <a:t>*</a:t>
              </a: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Сноска</a:t>
              </a:r>
              <a:endParaRPr lang="en-US" sz="1200" smtClean="0">
                <a:solidFill>
                  <a:srgbClr val="000000"/>
                </a:solidFill>
                <a:latin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Источник</a:t>
              </a:r>
              <a:r>
                <a:rPr lang="en-US" sz="1200" smtClean="0">
                  <a:solidFill>
                    <a:srgbClr val="000000"/>
                  </a:solidFill>
                  <a:latin typeface="Arial" charset="0"/>
                </a:rPr>
                <a:t>:</a:t>
              </a: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Источник</a:t>
              </a:r>
              <a:endParaRPr lang="en-US" sz="12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59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199438" y="2765425"/>
            <a:ext cx="1747837" cy="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 charset="0"/>
              </a:rPr>
              <a:t>Working Draft - Last Modified 09/06/2006 21:40:09</a:t>
            </a:r>
          </a:p>
        </p:txBody>
      </p:sp>
      <p:sp>
        <p:nvSpPr>
          <p:cNvPr id="160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79644" y="4302919"/>
            <a:ext cx="987425" cy="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 charset="0"/>
              </a:rPr>
              <a:t>Printed 08/06/2006 17:52:59</a:t>
            </a:r>
          </a:p>
        </p:txBody>
      </p:sp>
      <p:graphicFrame>
        <p:nvGraphicFramePr>
          <p:cNvPr id="161" name="Rectangle 38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87746" r:id="rId12" imgW="0" imgH="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1544" y="5060058"/>
            <a:ext cx="54864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1544" y="612264"/>
            <a:ext cx="5486400" cy="507831"/>
          </a:xfrm>
        </p:spPr>
        <p:txBody>
          <a:bodyPr/>
          <a:lstStyle>
            <a:lvl1pPr marL="0" indent="0">
              <a:buNone/>
              <a:defRPr sz="3300"/>
            </a:lvl1pPr>
            <a:lvl2pPr marL="466481" indent="0">
              <a:buNone/>
              <a:defRPr sz="2900"/>
            </a:lvl2pPr>
            <a:lvl3pPr marL="932962" indent="0">
              <a:buNone/>
              <a:defRPr sz="2400"/>
            </a:lvl3pPr>
            <a:lvl4pPr marL="1399443" indent="0">
              <a:buNone/>
              <a:defRPr sz="2000"/>
            </a:lvl4pPr>
            <a:lvl5pPr marL="1865925" indent="0">
              <a:buNone/>
              <a:defRPr sz="2000"/>
            </a:lvl5pPr>
            <a:lvl6pPr marL="2332406" indent="0">
              <a:buNone/>
              <a:defRPr sz="2000"/>
            </a:lvl6pPr>
            <a:lvl7pPr marL="2798887" indent="0">
              <a:buNone/>
              <a:defRPr sz="2000"/>
            </a:lvl7pPr>
            <a:lvl8pPr marL="3265368" indent="0">
              <a:buNone/>
              <a:defRPr sz="2000"/>
            </a:lvl8pPr>
            <a:lvl9pPr marL="3731849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66481" indent="0">
              <a:buNone/>
              <a:defRPr sz="1200"/>
            </a:lvl2pPr>
            <a:lvl3pPr marL="932962" indent="0">
              <a:buNone/>
              <a:defRPr sz="1000"/>
            </a:lvl3pPr>
            <a:lvl4pPr marL="1399443" indent="0">
              <a:buNone/>
              <a:defRPr sz="900"/>
            </a:lvl4pPr>
            <a:lvl5pPr marL="1865925" indent="0">
              <a:buNone/>
              <a:defRPr sz="900"/>
            </a:lvl5pPr>
            <a:lvl6pPr marL="2332406" indent="0">
              <a:buNone/>
              <a:defRPr sz="900"/>
            </a:lvl6pPr>
            <a:lvl7pPr marL="2798887" indent="0">
              <a:buNone/>
              <a:defRPr sz="900"/>
            </a:lvl7pPr>
            <a:lvl8pPr marL="3265368" indent="0">
              <a:buNone/>
              <a:defRPr sz="900"/>
            </a:lvl8pPr>
            <a:lvl9pPr marL="373184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2" name="pg num"/>
          <p:cNvSpPr>
            <a:spLocks noGrp="1" noChangeArrowheads="1"/>
          </p:cNvSpPr>
          <p:nvPr>
            <p:ph type="sldNum" sz="quarter" idx="10"/>
            <p:custDataLst>
              <p:tags r:id="rId8"/>
            </p:custDataLst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fld id="{45A4F1F4-38CC-47C5-A578-55DB7E2C0F8E}" type="slidenum">
              <a:rPr lang="en-US" altLang="ru-RU"/>
              <a:pPr/>
              <a:t>‹#›</a:t>
            </a:fld>
            <a:endParaRPr lang="en-US" altLang="ru-RU"/>
          </a:p>
        </p:txBody>
      </p:sp>
      <p:sp>
        <p:nvSpPr>
          <p:cNvPr id="163" name="doc id"/>
          <p:cNvSpPr>
            <a:spLocks noGrp="1" noChangeArrowheads="1"/>
          </p:cNvSpPr>
          <p:nvPr>
            <p:ph type="ftr" sz="quarter" idx="11"/>
            <p:custDataLst>
              <p:tags r:id="rId9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1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22225"/>
            <a:ext cx="9145588" cy="241300"/>
            <a:chOff x="-4" y="-14"/>
            <a:chExt cx="5646" cy="149"/>
          </a:xfrm>
        </p:grpSpPr>
        <p:sp>
          <p:nvSpPr>
            <p:cNvPr id="5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9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2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6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7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8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9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2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3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4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5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6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7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8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9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0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1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2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3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4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5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6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7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8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39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0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1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2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3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4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5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6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6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7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8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49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0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1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2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3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1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4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5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6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7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8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59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0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1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2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3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4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5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6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7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8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69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0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1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2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3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4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5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7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6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7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8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79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0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1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2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2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3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4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5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6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7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8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89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0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1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2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3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4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5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6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7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8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0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1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2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3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4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3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5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6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7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8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9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0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2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1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2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3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4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5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6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37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7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8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19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0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1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2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3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4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5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6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7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8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29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0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1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2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3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4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5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6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7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8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3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39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0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1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1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3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2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3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4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5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5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6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7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8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49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50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20638"/>
            <a:ext cx="2611438" cy="239713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93196" tIns="46599" rIns="93196" bIns="46599"/>
          <a:lstStyle/>
          <a:p>
            <a:endParaRPr lang="ru-RU"/>
          </a:p>
        </p:txBody>
      </p:sp>
      <p:sp>
        <p:nvSpPr>
          <p:cNvPr id="151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50" y="-26988"/>
            <a:ext cx="9174163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96" tIns="46648" rIns="93296" bIns="46648"/>
          <a:lstStyle/>
          <a:p>
            <a:endParaRPr lang="ru-RU"/>
          </a:p>
        </p:txBody>
      </p:sp>
      <p:grpSp>
        <p:nvGrpSpPr>
          <p:cNvPr id="152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763" y="6616700"/>
            <a:ext cx="9140825" cy="263525"/>
            <a:chOff x="3" y="4085"/>
            <a:chExt cx="5643" cy="163"/>
          </a:xfrm>
        </p:grpSpPr>
        <p:sp>
          <p:nvSpPr>
            <p:cNvPr id="153" name="Rectangle 36"/>
            <p:cNvSpPr>
              <a:spLocks noChangeArrowheads="1"/>
            </p:cNvSpPr>
            <p:nvPr userDrawn="1">
              <p:custDataLst>
                <p:tags r:id="rId10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342" tIns="45672" rIns="91342" bIns="45672" anchor="ctr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54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52 h 164"/>
                <a:gd name="T4" fmla="*/ 1612 w 1612"/>
                <a:gd name="T5" fmla="*/ 15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 rot="10800000" lIns="91342" tIns="45672" rIns="91342" bIns="45672"/>
            <a:lstStyle/>
            <a:p>
              <a:endParaRPr lang="ru-RU"/>
            </a:p>
          </p:txBody>
        </p:sp>
      </p:grpSp>
      <p:grpSp>
        <p:nvGrpSpPr>
          <p:cNvPr id="155" name="McK Slide Elements"/>
          <p:cNvGrpSpPr>
            <a:grpSpLocks/>
          </p:cNvGrpSpPr>
          <p:nvPr/>
        </p:nvGrpSpPr>
        <p:grpSpPr bwMode="auto">
          <a:xfrm>
            <a:off x="125413" y="542925"/>
            <a:ext cx="8793162" cy="6288088"/>
            <a:chOff x="77" y="335"/>
            <a:chExt cx="5429" cy="3882"/>
          </a:xfrm>
        </p:grpSpPr>
        <p:sp>
          <p:nvSpPr>
            <p:cNvPr id="15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smtClean="0">
                  <a:solidFill>
                    <a:srgbClr val="000000"/>
                  </a:solidFill>
                  <a:latin typeface="Arial" charset="0"/>
                </a:rPr>
                <a:t>Unit of measure</a:t>
              </a:r>
            </a:p>
          </p:txBody>
        </p:sp>
        <p:sp>
          <p:nvSpPr>
            <p:cNvPr id="15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</a:t>
              </a:r>
              <a:r>
                <a:rPr lang="en-US" sz="1200" smtClean="0">
                  <a:solidFill>
                    <a:srgbClr val="000000"/>
                  </a:solidFill>
                  <a:latin typeface="Arial" charset="0"/>
                </a:rPr>
                <a:t>*</a:t>
              </a: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Сноска</a:t>
              </a:r>
              <a:endParaRPr lang="en-US" sz="1200" smtClean="0">
                <a:solidFill>
                  <a:srgbClr val="000000"/>
                </a:solidFill>
                <a:latin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Источник</a:t>
              </a:r>
              <a:r>
                <a:rPr lang="en-US" sz="1200" smtClean="0">
                  <a:solidFill>
                    <a:srgbClr val="000000"/>
                  </a:solidFill>
                  <a:latin typeface="Arial" charset="0"/>
                </a:rPr>
                <a:t>:</a:t>
              </a: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Источник</a:t>
              </a:r>
              <a:endParaRPr lang="en-US" sz="12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5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199438" y="2765425"/>
            <a:ext cx="1747837" cy="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 charset="0"/>
              </a:rPr>
              <a:t>Working Draft - Last Modified 09/06/2006 21:40:09</a:t>
            </a:r>
          </a:p>
        </p:txBody>
      </p:sp>
      <p:sp>
        <p:nvSpPr>
          <p:cNvPr id="15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79644" y="4302919"/>
            <a:ext cx="987425" cy="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 charset="0"/>
              </a:rPr>
              <a:t>Printed 08/06/2006 17:52:59</a:t>
            </a:r>
          </a:p>
        </p:txBody>
      </p:sp>
      <p:graphicFrame>
        <p:nvGraphicFramePr>
          <p:cNvPr id="160" name="Rectangle 38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288770" r:id="rId12" imgW="0" imgH="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964187" y="1299036"/>
            <a:ext cx="2954655" cy="124720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1" name="pg num"/>
          <p:cNvSpPr>
            <a:spLocks noGrp="1" noChangeArrowheads="1"/>
          </p:cNvSpPr>
          <p:nvPr>
            <p:ph type="sldNum" sz="quarter" idx="10"/>
            <p:custDataLst>
              <p:tags r:id="rId8"/>
            </p:custDataLst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fld id="{0359D2B9-2662-44A8-BF44-17AA7EE7AF07}" type="slidenum">
              <a:rPr lang="en-US" altLang="ru-RU"/>
              <a:pPr/>
              <a:t>‹#›</a:t>
            </a:fld>
            <a:endParaRPr lang="en-US" altLang="ru-RU"/>
          </a:p>
        </p:txBody>
      </p:sp>
      <p:sp>
        <p:nvSpPr>
          <p:cNvPr id="162" name="doc id"/>
          <p:cNvSpPr>
            <a:spLocks noGrp="1" noChangeArrowheads="1"/>
          </p:cNvSpPr>
          <p:nvPr>
            <p:ph type="ftr" sz="quarter" idx="11"/>
            <p:custDataLst>
              <p:tags r:id="rId9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1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26" Type="http://schemas.openxmlformats.org/officeDocument/2006/relationships/tags" Target="../tags/tag9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5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3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tags" Target="../tags/tag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343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-6350" y="-22225"/>
            <a:ext cx="9145588" cy="241300"/>
            <a:chOff x="-4" y="-14"/>
            <a:chExt cx="5646" cy="149"/>
          </a:xfrm>
        </p:grpSpPr>
        <p:sp>
          <p:nvSpPr>
            <p:cNvPr id="2066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67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68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69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70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71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72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9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73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74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75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22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76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77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78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79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5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80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5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81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82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5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83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84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85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5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86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87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88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89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90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91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92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93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94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95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96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97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98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099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5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00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01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5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02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03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04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5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05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06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07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26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08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09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10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11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12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13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14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1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15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16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17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18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19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20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5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21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22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5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23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24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5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25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26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27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5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28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29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30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31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32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5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33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34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5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35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36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27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37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38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39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5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40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41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42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43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2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44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5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45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46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47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5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48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49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50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51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52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5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53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54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55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56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57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58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59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60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61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62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63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64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65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3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66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67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5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68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69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5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70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71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2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72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73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74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75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76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77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37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78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79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80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81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82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83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84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85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86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87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88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89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90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91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92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93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94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95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96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74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97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98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99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73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200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201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1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202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73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203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204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205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206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25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207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208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209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210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42" tIns="45672" rIns="91342" bIns="45672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027" name="Freeform 353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6534150" y="-20638"/>
            <a:ext cx="2611438" cy="239713"/>
          </a:xfrm>
          <a:custGeom>
            <a:avLst/>
            <a:gdLst>
              <a:gd name="T0" fmla="*/ 0 w 1612"/>
              <a:gd name="T1" fmla="*/ 0 h 164"/>
              <a:gd name="T2" fmla="*/ 2147483646 w 1612"/>
              <a:gd name="T3" fmla="*/ 2147483646 h 164"/>
              <a:gd name="T4" fmla="*/ 2147483646 w 1612"/>
              <a:gd name="T5" fmla="*/ 2147483646 h 164"/>
              <a:gd name="T6" fmla="*/ 2147483646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93196" tIns="46599" rIns="93196" bIns="46599"/>
          <a:lstStyle/>
          <a:p>
            <a:endParaRPr lang="ru-RU"/>
          </a:p>
        </p:txBody>
      </p:sp>
      <p:sp>
        <p:nvSpPr>
          <p:cNvPr id="1028" name="AutoShape 196"/>
          <p:cNvSpPr>
            <a:spLocks noChangeAspect="1" noChangeArrowheads="1" noTextEdit="1"/>
          </p:cNvSpPr>
          <p:nvPr>
            <p:custDataLst>
              <p:tags r:id="rId20"/>
            </p:custDataLst>
          </p:nvPr>
        </p:nvSpPr>
        <p:spPr bwMode="auto">
          <a:xfrm>
            <a:off x="-6350" y="-26988"/>
            <a:ext cx="9174163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96" tIns="46648" rIns="93296" bIns="46648"/>
          <a:lstStyle/>
          <a:p>
            <a:endParaRPr lang="ru-RU"/>
          </a:p>
        </p:txBody>
      </p:sp>
      <p:grpSp>
        <p:nvGrpSpPr>
          <p:cNvPr id="1029" name="Group 355"/>
          <p:cNvGrpSpPr>
            <a:grpSpLocks/>
          </p:cNvGrpSpPr>
          <p:nvPr>
            <p:custDataLst>
              <p:tags r:id="rId21"/>
            </p:custDataLst>
          </p:nvPr>
        </p:nvGrpSpPr>
        <p:grpSpPr bwMode="auto">
          <a:xfrm>
            <a:off x="4763" y="6616700"/>
            <a:ext cx="9140825" cy="263525"/>
            <a:chOff x="3" y="4085"/>
            <a:chExt cx="5643" cy="163"/>
          </a:xfrm>
        </p:grpSpPr>
        <p:sp>
          <p:nvSpPr>
            <p:cNvPr id="2064" name="Rectangle 36"/>
            <p:cNvSpPr>
              <a:spLocks noChangeArrowheads="1"/>
            </p:cNvSpPr>
            <p:nvPr userDrawn="1">
              <p:custDataLst>
                <p:tags r:id="rId28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342" tIns="45672" rIns="91342" bIns="45672" anchor="ctr"/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endParaRPr lang="ru-RU" altLang="ru-RU" sz="14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1041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52 h 164"/>
                <a:gd name="T4" fmla="*/ 1612 w 1612"/>
                <a:gd name="T5" fmla="*/ 15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 rot="10800000" lIns="91342" tIns="45672" rIns="91342" bIns="45672"/>
            <a:lstStyle/>
            <a:p>
              <a:endParaRPr lang="ru-RU"/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22"/>
            </p:custDataLst>
          </p:nvPr>
        </p:nvSpPr>
        <p:spPr bwMode="auto">
          <a:xfrm>
            <a:off x="7010400" y="6661150"/>
            <a:ext cx="1905000" cy="185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1" hangingPunct="1">
              <a:defRPr sz="1200" b="1">
                <a:solidFill>
                  <a:srgbClr val="FFFFFF"/>
                </a:solidFill>
              </a:defRPr>
            </a:lvl1pPr>
          </a:lstStyle>
          <a:p>
            <a:fld id="{BBAAF7C6-2459-48A0-BD18-5094E6C58E1E}" type="slidenum">
              <a:rPr lang="en-US" altLang="ru-RU"/>
              <a:pPr/>
              <a:t>‹#›</a:t>
            </a:fld>
            <a:endParaRPr lang="en-US" altLang="ru-RU"/>
          </a:p>
        </p:txBody>
      </p:sp>
      <p:sp>
        <p:nvSpPr>
          <p:cNvPr id="1031" name="Rectangle 2"/>
          <p:cNvSpPr>
            <a:spLocks noGrp="1" noChangeArrowheads="1"/>
          </p:cNvSpPr>
          <p:nvPr>
            <p:ph type="title"/>
            <p:custDataLst>
              <p:tags r:id="rId23"/>
            </p:custDataLst>
          </p:nvPr>
        </p:nvSpPr>
        <p:spPr bwMode="auto">
          <a:xfrm>
            <a:off x="122238" y="234950"/>
            <a:ext cx="8793162" cy="29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ru-RU" smtClean="0"/>
              <a:t>Click to edit Master title style</a:t>
            </a:r>
          </a:p>
        </p:txBody>
      </p:sp>
      <p:sp>
        <p:nvSpPr>
          <p:cNvPr id="1032" name="Rectangle 3"/>
          <p:cNvSpPr>
            <a:spLocks noGrp="1" noChangeArrowheads="1"/>
          </p:cNvSpPr>
          <p:nvPr>
            <p:ph type="body" idx="1"/>
            <p:custDataLst>
              <p:tags r:id="rId24"/>
            </p:custDataLst>
          </p:nvPr>
        </p:nvSpPr>
        <p:spPr bwMode="auto">
          <a:xfrm>
            <a:off x="125413" y="1298575"/>
            <a:ext cx="8793162" cy="124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</a:p>
        </p:txBody>
      </p:sp>
      <p:grpSp>
        <p:nvGrpSpPr>
          <p:cNvPr id="1033" name="McK Slide Elements"/>
          <p:cNvGrpSpPr>
            <a:grpSpLocks/>
          </p:cNvGrpSpPr>
          <p:nvPr/>
        </p:nvGrpSpPr>
        <p:grpSpPr bwMode="auto">
          <a:xfrm>
            <a:off x="125413" y="542925"/>
            <a:ext cx="8793162" cy="6288088"/>
            <a:chOff x="77" y="335"/>
            <a:chExt cx="5429" cy="3882"/>
          </a:xfrm>
        </p:grpSpPr>
        <p:sp>
          <p:nvSpPr>
            <p:cNvPr id="308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smtClean="0">
                  <a:solidFill>
                    <a:srgbClr val="000000"/>
                  </a:solidFill>
                  <a:latin typeface="Arial" charset="0"/>
                </a:rPr>
                <a:t>Unit of measure</a:t>
              </a:r>
            </a:p>
          </p:txBody>
        </p:sp>
        <p:sp>
          <p:nvSpPr>
            <p:cNvPr id="308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Candara" pitchFamily="34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</a:t>
              </a:r>
              <a:r>
                <a:rPr lang="en-US" sz="1200" smtClean="0">
                  <a:solidFill>
                    <a:srgbClr val="000000"/>
                  </a:solidFill>
                  <a:latin typeface="Arial" charset="0"/>
                </a:rPr>
                <a:t>*</a:t>
              </a: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Сноска</a:t>
              </a:r>
              <a:endParaRPr lang="en-US" sz="1200" smtClean="0">
                <a:solidFill>
                  <a:srgbClr val="000000"/>
                </a:solidFill>
                <a:latin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Источник</a:t>
              </a:r>
              <a:r>
                <a:rPr lang="en-US" sz="1200" smtClean="0">
                  <a:solidFill>
                    <a:srgbClr val="000000"/>
                  </a:solidFill>
                  <a:latin typeface="Arial" charset="0"/>
                </a:rPr>
                <a:t>:</a:t>
              </a:r>
              <a:r>
                <a:rPr lang="ru-RU" sz="1200" smtClean="0">
                  <a:solidFill>
                    <a:srgbClr val="000000"/>
                  </a:solidFill>
                  <a:latin typeface="Arial" charset="0"/>
                </a:rPr>
                <a:t>	Источник</a:t>
              </a:r>
              <a:endParaRPr lang="en-US" sz="12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3082" name="Working Draft" hidden="1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 rot="5400000">
            <a:off x="8199438" y="2765425"/>
            <a:ext cx="1747837" cy="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 charset="0"/>
              </a:rPr>
              <a:t>Working Draft - Last Modified 09/06/2006 21:40:09</a:t>
            </a:r>
          </a:p>
        </p:txBody>
      </p:sp>
      <p:sp>
        <p:nvSpPr>
          <p:cNvPr id="3083" name="Printed" hidden="1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 rot="5400000">
            <a:off x="8579644" y="4302919"/>
            <a:ext cx="987425" cy="9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ndar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 charset="0"/>
              </a:rPr>
              <a:t>Printed 08/06/2006 17:52:59</a:t>
            </a:r>
          </a:p>
        </p:txBody>
      </p:sp>
      <p:sp>
        <p:nvSpPr>
          <p:cNvPr id="2" name="doc id"/>
          <p:cNvSpPr>
            <a:spLocks noGrp="1" noChangeArrowheads="1"/>
          </p:cNvSpPr>
          <p:nvPr>
            <p:ph type="ftr" sz="quarter" idx="3"/>
            <p:custDataLst>
              <p:tags r:id="rId27"/>
            </p:custDataLst>
          </p:nvPr>
        </p:nvSpPr>
        <p:spPr bwMode="auto">
          <a:xfrm>
            <a:off x="150813" y="36513"/>
            <a:ext cx="18065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eaLnBrk="1" hangingPunct="1">
              <a:defRPr sz="800" b="1">
                <a:solidFill>
                  <a:srgbClr val="FFFFFF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1</a:t>
            </a:r>
          </a:p>
        </p:txBody>
      </p:sp>
      <p:graphicFrame>
        <p:nvGraphicFramePr>
          <p:cNvPr id="1037" name="Rectangle 38" hidden="1"/>
          <p:cNvGraphicFramePr>
            <a:graphicFrameLocks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1037" r:id="rId29" imgW="0" imgH="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5223" r:id="rId1"/>
    <p:sldLayoutId id="2147485224" r:id="rId2"/>
    <p:sldLayoutId id="2147485225" r:id="rId3"/>
    <p:sldLayoutId id="2147485226" r:id="rId4"/>
    <p:sldLayoutId id="2147485227" r:id="rId5"/>
    <p:sldLayoutId id="2147485228" r:id="rId6"/>
    <p:sldLayoutId id="2147485229" r:id="rId7"/>
    <p:sldLayoutId id="2147485230" r:id="rId8"/>
    <p:sldLayoutId id="2147485231" r:id="rId9"/>
    <p:sldLayoutId id="2147485232" r:id="rId10"/>
    <p:sldLayoutId id="2147485233" r:id="rId11"/>
    <p:sldLayoutId id="2147485234" r:id="rId12"/>
    <p:sldLayoutId id="2147485235" r:id="rId13"/>
    <p:sldLayoutId id="2147485236" r:id="rId14"/>
    <p:sldLayoutId id="2147485237" r:id="rId15"/>
  </p:sldLayoutIdLst>
  <p:hf hd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 Black" pitchFamily="34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 Black" pitchFamily="34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 Black" pitchFamily="34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 Black" pitchFamily="34" charset="0"/>
        </a:defRPr>
      </a:lvl5pPr>
      <a:lvl6pPr marL="466481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6pPr>
      <a:lvl7pPr marL="932962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7pPr>
      <a:lvl8pPr marL="1399443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8pPr>
      <a:lvl9pPr marL="1865925" algn="l" defTabSz="91352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9pPr>
    </p:titleStyle>
    <p:bodyStyle>
      <a:lvl1pPr marL="349250" indent="-349250" algn="l" defTabSz="912813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6050" indent="-144463" algn="l" defTabSz="912813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300038" indent="-150813" algn="l" defTabSz="912813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39738" indent="-136525" algn="l" defTabSz="912813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93725" indent="-150813" algn="l" defTabSz="912813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60921" indent="-152254" algn="l" defTabSz="913526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527402" indent="-152254" algn="l" defTabSz="913526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93884" indent="-152254" algn="l" defTabSz="913526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60365" indent="-152254" algn="l" defTabSz="913526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4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Relationship Id="rId9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5570" name="Picture 2" descr="https://big-rostov.ru/wp-content/uploads/2015/11/rost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404664"/>
            <a:ext cx="8570444" cy="5688632"/>
          </a:xfrm>
          <a:prstGeom prst="rect">
            <a:avLst/>
          </a:prstGeom>
          <a:noFill/>
        </p:spPr>
      </p:pic>
      <p:sp>
        <p:nvSpPr>
          <p:cNvPr id="91138" name="Нижний колонтитул 3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mtClean="0"/>
              <a:t>1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ctrTitle" idx="4294967295"/>
          </p:nvPr>
        </p:nvSpPr>
        <p:spPr>
          <a:xfrm>
            <a:off x="827584" y="1556792"/>
            <a:ext cx="7776864" cy="4032447"/>
          </a:xfr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pPr marL="182880" algn="ctr">
              <a:defRPr/>
            </a:pPr>
            <a:r>
              <a:rPr lang="ru-RU" sz="4800" dirty="0" smtClean="0">
                <a:ln w="1905"/>
                <a:solidFill>
                  <a:srgbClr val="FFFF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тчет об исполнении бюджета муниципального образования Константиновский район за 2018 г</a:t>
            </a:r>
            <a:endParaRPr lang="ru-RU" sz="4800" dirty="0">
              <a:ln w="1905"/>
              <a:solidFill>
                <a:srgbClr val="FFFF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1141" name="Номер слайда 2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2CD7F2B2-5796-440B-ADDF-02156E08F2E6}" type="slidenum">
              <a:rPr lang="en-US" altLang="ru-RU"/>
              <a:pPr/>
              <a:t>1</a:t>
            </a:fld>
            <a:endParaRPr lang="en-US" alt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Заголовок 1"/>
          <p:cNvSpPr>
            <a:spLocks noGrp="1"/>
          </p:cNvSpPr>
          <p:nvPr>
            <p:ph type="title"/>
          </p:nvPr>
        </p:nvSpPr>
        <p:spPr>
          <a:xfrm>
            <a:off x="179388" y="188913"/>
            <a:ext cx="8640762" cy="1723549"/>
          </a:xfrm>
        </p:spPr>
        <p:txBody>
          <a:bodyPr/>
          <a:lstStyle/>
          <a:p>
            <a:pPr algn="ctr"/>
            <a:r>
              <a:rPr lang="ru-RU" altLang="ru-RU" sz="2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инамика поступлений налогов на совокупный доход в бюджет Константиновского муниципального района</a:t>
            </a:r>
            <a:r>
              <a:rPr lang="en-US" altLang="ru-RU" sz="2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br>
              <a:rPr lang="en-US" altLang="ru-RU" sz="2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en-US" altLang="ru-RU" sz="2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					</a:t>
            </a:r>
            <a:r>
              <a:rPr lang="ru-RU" alt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лн. рублей</a:t>
            </a:r>
            <a:endParaRPr lang="ru-RU" altLang="ru-RU" sz="28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8" name="Объект 3"/>
          <p:cNvGraphicFramePr>
            <a:graphicFrameLocks noGrp="1"/>
          </p:cNvGraphicFramePr>
          <p:nvPr>
            <p:ph idx="1"/>
          </p:nvPr>
        </p:nvGraphicFramePr>
        <p:xfrm>
          <a:off x="251520" y="1412776"/>
          <a:ext cx="8496300" cy="5445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Стрелка вправо 5"/>
          <p:cNvSpPr/>
          <p:nvPr/>
        </p:nvSpPr>
        <p:spPr>
          <a:xfrm rot="20593342">
            <a:off x="3787167" y="2643933"/>
            <a:ext cx="1152525" cy="71913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3</a:t>
            </a:r>
            <a:r>
              <a:rPr lang="en-US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r>
              <a:rPr lang="ru-RU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en-US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</a:t>
            </a:r>
            <a:r>
              <a:rPr lang="ru-RU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lang="ru-RU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1396" name="TextBox 1"/>
          <p:cNvSpPr txBox="1">
            <a:spLocks noChangeArrowheads="1"/>
          </p:cNvSpPr>
          <p:nvPr/>
        </p:nvSpPr>
        <p:spPr bwMode="auto">
          <a:xfrm>
            <a:off x="8748713" y="6597650"/>
            <a:ext cx="312737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/>
              <a:t>9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Заголовок 1"/>
          <p:cNvSpPr>
            <a:spLocks noGrp="1"/>
          </p:cNvSpPr>
          <p:nvPr>
            <p:ph type="title"/>
          </p:nvPr>
        </p:nvSpPr>
        <p:spPr>
          <a:xfrm>
            <a:off x="179388" y="404813"/>
            <a:ext cx="8713787" cy="1107996"/>
          </a:xfrm>
        </p:spPr>
        <p:txBody>
          <a:bodyPr/>
          <a:lstStyle/>
          <a:p>
            <a:pPr algn="ctr"/>
            <a:r>
              <a:rPr lang="ru-RU" altLang="ru-RU" sz="2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Динамика поступлений в бюджет Константиновского муниципального района государственной пошлины</a:t>
            </a:r>
            <a:r>
              <a:rPr lang="en-US" altLang="ru-RU" sz="2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ru-RU" sz="2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en-US" altLang="ru-RU" sz="2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						</a:t>
            </a:r>
            <a:r>
              <a:rPr lang="ru-RU" altLang="ru-RU" sz="2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лн. рублей</a:t>
            </a:r>
          </a:p>
        </p:txBody>
      </p:sp>
      <p:sp>
        <p:nvSpPr>
          <p:cNvPr id="105476" name="TextBox 1"/>
          <p:cNvSpPr txBox="1">
            <a:spLocks noChangeArrowheads="1"/>
          </p:cNvSpPr>
          <p:nvPr/>
        </p:nvSpPr>
        <p:spPr bwMode="auto">
          <a:xfrm>
            <a:off x="8591550" y="6602413"/>
            <a:ext cx="4413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/>
              <a:t>12</a:t>
            </a:r>
          </a:p>
        </p:txBody>
      </p:sp>
      <p:graphicFrame>
        <p:nvGraphicFramePr>
          <p:cNvPr id="7" name="Содержимое 6"/>
          <p:cNvGraphicFramePr>
            <a:graphicFrameLocks noGrp="1"/>
          </p:cNvGraphicFramePr>
          <p:nvPr>
            <p:ph idx="1"/>
          </p:nvPr>
        </p:nvGraphicFramePr>
        <p:xfrm>
          <a:off x="125413" y="1298575"/>
          <a:ext cx="8793162" cy="3930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Заголовок 1"/>
          <p:cNvSpPr>
            <a:spLocks noGrp="1"/>
          </p:cNvSpPr>
          <p:nvPr>
            <p:ph type="title"/>
          </p:nvPr>
        </p:nvSpPr>
        <p:spPr>
          <a:xfrm>
            <a:off x="395537" y="549275"/>
            <a:ext cx="8424936" cy="861774"/>
          </a:xfrm>
        </p:spPr>
        <p:txBody>
          <a:bodyPr/>
          <a:lstStyle/>
          <a:p>
            <a:pPr algn="ctr"/>
            <a:r>
              <a:rPr lang="ru-RU" altLang="ru-RU" sz="2800" dirty="0" smtClean="0">
                <a:solidFill>
                  <a:srgbClr val="0D0D0D"/>
                </a:solidFill>
                <a:latin typeface="Times New Roman" pitchFamily="18" charset="0"/>
                <a:cs typeface="Times New Roman" pitchFamily="18" charset="0"/>
              </a:rPr>
              <a:t>Крупные налогоплательщики</a:t>
            </a:r>
            <a:r>
              <a:rPr lang="en-US" altLang="ru-RU" sz="2800" dirty="0" smtClean="0">
                <a:solidFill>
                  <a:srgbClr val="0D0D0D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ru-RU" sz="2800" dirty="0" smtClean="0">
                <a:solidFill>
                  <a:srgbClr val="0D0D0D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2800" dirty="0" smtClean="0">
                <a:solidFill>
                  <a:srgbClr val="0D0D0D"/>
                </a:solidFill>
                <a:latin typeface="Times New Roman" pitchFamily="18" charset="0"/>
                <a:cs typeface="Times New Roman" pitchFamily="18" charset="0"/>
              </a:rPr>
              <a:t> Константиновского района</a:t>
            </a: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</p:nvPr>
        </p:nvGraphicFramePr>
        <p:xfrm>
          <a:off x="971600" y="1916832"/>
          <a:ext cx="7705104" cy="3615068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7705104"/>
              </a:tblGrid>
              <a:tr h="50405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400" b="1" dirty="0">
                          <a:latin typeface="Times New Roman"/>
                          <a:ea typeface="Times New Roman"/>
                          <a:cs typeface="Times New Roman"/>
                        </a:rPr>
                        <a:t>ООО «Стычное»</a:t>
                      </a:r>
                      <a:endParaRPr lang="ru-RU" sz="2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29120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400" b="1" dirty="0">
                          <a:latin typeface="Times New Roman"/>
                          <a:ea typeface="Times New Roman"/>
                          <a:cs typeface="Times New Roman"/>
                        </a:rPr>
                        <a:t>СПК «Степной»</a:t>
                      </a:r>
                      <a:endParaRPr lang="ru-RU" sz="2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42902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400" b="1" dirty="0">
                          <a:latin typeface="Times New Roman"/>
                          <a:ea typeface="Times New Roman"/>
                          <a:cs typeface="Times New Roman"/>
                        </a:rPr>
                        <a:t>ЗАО «Восход»</a:t>
                      </a:r>
                      <a:endParaRPr lang="ru-RU" sz="2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27713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400" b="1" dirty="0">
                          <a:latin typeface="Times New Roman"/>
                          <a:ea typeface="Times New Roman"/>
                          <a:cs typeface="Times New Roman"/>
                        </a:rPr>
                        <a:t>СПК «Правда»</a:t>
                      </a:r>
                      <a:endParaRPr lang="ru-RU" sz="2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40438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400" b="1" dirty="0">
                          <a:latin typeface="Times New Roman"/>
                          <a:ea typeface="Times New Roman"/>
                          <a:cs typeface="Times New Roman"/>
                        </a:rPr>
                        <a:t>ООО «Арарат»</a:t>
                      </a:r>
                      <a:endParaRPr lang="ru-RU" sz="2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3600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4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ООО «Винодельня </a:t>
                      </a:r>
                      <a:r>
                        <a:rPr lang="ru-RU" sz="2400" b="1" dirty="0" err="1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едерниковъ</a:t>
                      </a:r>
                      <a:r>
                        <a:rPr lang="ru-RU" sz="2400" b="1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»</a:t>
                      </a:r>
                      <a:endParaRPr lang="ru-RU" sz="2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76133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400" b="1" dirty="0">
                          <a:latin typeface="Times New Roman"/>
                          <a:ea typeface="Times New Roman"/>
                          <a:cs typeface="Times New Roman"/>
                        </a:rPr>
                        <a:t>ОАО «Николаевский рыбхоз»</a:t>
                      </a:r>
                      <a:endParaRPr lang="ru-RU" sz="2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41898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400" b="1" dirty="0">
                          <a:latin typeface="Times New Roman"/>
                          <a:ea typeface="Times New Roman"/>
                          <a:cs typeface="Times New Roman"/>
                        </a:rPr>
                        <a:t>ОАО «Николаевское хлебоприёмное»</a:t>
                      </a:r>
                      <a:endParaRPr lang="ru-RU" sz="2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</a:tbl>
          </a:graphicData>
        </a:graphic>
      </p:graphicFrame>
      <p:sp>
        <p:nvSpPr>
          <p:cNvPr id="104495" name="TextBox 1"/>
          <p:cNvSpPr txBox="1">
            <a:spLocks noChangeArrowheads="1"/>
          </p:cNvSpPr>
          <p:nvPr/>
        </p:nvSpPr>
        <p:spPr bwMode="auto">
          <a:xfrm>
            <a:off x="8675688" y="6597650"/>
            <a:ext cx="42545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/>
              <a:t>11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Заголовок 1"/>
          <p:cNvSpPr>
            <a:spLocks noGrp="1"/>
          </p:cNvSpPr>
          <p:nvPr>
            <p:ph type="title"/>
          </p:nvPr>
        </p:nvSpPr>
        <p:spPr>
          <a:xfrm>
            <a:off x="395537" y="549275"/>
            <a:ext cx="8424936" cy="1538883"/>
          </a:xfrm>
        </p:spPr>
        <p:txBody>
          <a:bodyPr/>
          <a:lstStyle/>
          <a:p>
            <a:pPr algn="ctr"/>
            <a:r>
              <a:rPr lang="ru-RU" altLang="ru-RU" sz="2800" dirty="0" smtClean="0">
                <a:solidFill>
                  <a:srgbClr val="0D0D0D"/>
                </a:solidFill>
                <a:latin typeface="Times New Roman" pitchFamily="18" charset="0"/>
                <a:cs typeface="Times New Roman" pitchFamily="18" charset="0"/>
              </a:rPr>
              <a:t>Безвозмездные поступления из </a:t>
            </a:r>
            <a:r>
              <a:rPr lang="en-US" altLang="ru-RU" sz="2800" dirty="0" smtClean="0">
                <a:solidFill>
                  <a:srgbClr val="0D0D0D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2800" dirty="0" smtClean="0">
                <a:solidFill>
                  <a:srgbClr val="0D0D0D"/>
                </a:solidFill>
                <a:latin typeface="Times New Roman" pitchFamily="18" charset="0"/>
                <a:cs typeface="Times New Roman" pitchFamily="18" charset="0"/>
              </a:rPr>
              <a:t>областного бюджета и бюджетов поселений в 2018 году</a:t>
            </a:r>
            <a:r>
              <a:rPr lang="en-US" altLang="ru-RU" sz="2800" dirty="0" smtClean="0">
                <a:solidFill>
                  <a:srgbClr val="0D0D0D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ru-RU" sz="2800" dirty="0" smtClean="0">
                <a:solidFill>
                  <a:srgbClr val="0D0D0D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en-US" altLang="ru-RU" sz="2800" dirty="0" smtClean="0">
                <a:solidFill>
                  <a:srgbClr val="0D0D0D"/>
                </a:solidFill>
                <a:latin typeface="Times New Roman" pitchFamily="18" charset="0"/>
                <a:cs typeface="Times New Roman" pitchFamily="18" charset="0"/>
              </a:rPr>
              <a:t>						</a:t>
            </a:r>
            <a:r>
              <a:rPr lang="ru-RU" sz="1600" dirty="0" smtClean="0"/>
              <a:t> тыс. рублей</a:t>
            </a:r>
            <a:br>
              <a:rPr lang="ru-RU" sz="1600" dirty="0" smtClean="0"/>
            </a:br>
            <a:endParaRPr lang="ru-RU" altLang="ru-RU" sz="1600" b="0" dirty="0" smtClean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</p:nvPr>
        </p:nvGraphicFramePr>
        <p:xfrm>
          <a:off x="323528" y="2132856"/>
          <a:ext cx="8281168" cy="3828793"/>
        </p:xfrm>
        <a:graphic>
          <a:graphicData uri="http://schemas.openxmlformats.org/drawingml/2006/table">
            <a:tbl>
              <a:tblPr firstRow="1" bandRow="1">
                <a:tableStyleId>{5DA37D80-6434-44D0-A028-1B22A696006F}</a:tableStyleId>
              </a:tblPr>
              <a:tblGrid>
                <a:gridCol w="2450550"/>
                <a:gridCol w="1352027"/>
                <a:gridCol w="1521031"/>
                <a:gridCol w="1605533"/>
                <a:gridCol w="1352027"/>
              </a:tblGrid>
              <a:tr h="717383"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ru-RU" sz="1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ервоначальный бюджет Константиновского района</a:t>
                      </a: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сполнение бюджета Константиновского района</a:t>
                      </a:r>
                    </a:p>
                  </a:txBody>
                  <a:tcPr marL="68580" marR="68580" marT="0" marB="0"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клонение</a:t>
                      </a: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6273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ыс. рублей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68580" marR="68580" marT="0" marB="0"/>
                </a:tc>
              </a:tr>
              <a:tr h="71738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сего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47293,9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39387,2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 7906,7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0,8</a:t>
                      </a:r>
                    </a:p>
                  </a:txBody>
                  <a:tcPr marL="68580" marR="68580" marT="0" marB="0"/>
                </a:tc>
              </a:tr>
              <a:tr h="3686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отации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46706,2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1211,7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  <a:tr h="36004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убсидии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79316,6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83120,4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  <a:tr h="43204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убвенции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46796,7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75464,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6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  <a:tr h="41898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ные межбюджетные трансферты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74474,4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29591,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104495" name="TextBox 1"/>
          <p:cNvSpPr txBox="1">
            <a:spLocks noChangeArrowheads="1"/>
          </p:cNvSpPr>
          <p:nvPr/>
        </p:nvSpPr>
        <p:spPr bwMode="auto">
          <a:xfrm>
            <a:off x="8675688" y="6597650"/>
            <a:ext cx="42545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/>
              <a:t>11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Заголовок 1"/>
          <p:cNvSpPr>
            <a:spLocks noGrp="1"/>
          </p:cNvSpPr>
          <p:nvPr>
            <p:ph type="title"/>
          </p:nvPr>
        </p:nvSpPr>
        <p:spPr>
          <a:xfrm>
            <a:off x="395537" y="549275"/>
            <a:ext cx="8424936" cy="1538883"/>
          </a:xfrm>
        </p:spPr>
        <p:txBody>
          <a:bodyPr/>
          <a:lstStyle/>
          <a:p>
            <a:pPr algn="ctr"/>
            <a:r>
              <a:rPr lang="ru-RU" altLang="ru-RU" sz="2800" dirty="0" smtClean="0">
                <a:solidFill>
                  <a:srgbClr val="0D0D0D"/>
                </a:solidFill>
                <a:latin typeface="Times New Roman" pitchFamily="18" charset="0"/>
                <a:cs typeface="Times New Roman" pitchFamily="18" charset="0"/>
              </a:rPr>
              <a:t>Безвозмездные поступления </a:t>
            </a:r>
            <a:r>
              <a:rPr lang="en-US" altLang="ru-RU" sz="2800" dirty="0" smtClean="0">
                <a:solidFill>
                  <a:srgbClr val="0D0D0D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ru-RU" sz="2800" dirty="0" smtClean="0">
                <a:solidFill>
                  <a:srgbClr val="0D0D0D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2800" dirty="0" smtClean="0">
                <a:solidFill>
                  <a:srgbClr val="0D0D0D"/>
                </a:solidFill>
                <a:latin typeface="Times New Roman" pitchFamily="18" charset="0"/>
                <a:cs typeface="Times New Roman" pitchFamily="18" charset="0"/>
              </a:rPr>
              <a:t>из областного бюджета и бюджетов поселений</a:t>
            </a: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en-US" altLang="ru-RU" sz="2800" dirty="0" smtClean="0">
                <a:solidFill>
                  <a:srgbClr val="0D0D0D"/>
                </a:solidFill>
                <a:latin typeface="Times New Roman" pitchFamily="18" charset="0"/>
                <a:cs typeface="Times New Roman" pitchFamily="18" charset="0"/>
              </a:rPr>
              <a:t>						</a:t>
            </a:r>
            <a:r>
              <a:rPr lang="ru-RU" sz="1600" dirty="0" smtClean="0"/>
              <a:t> тыс. рублей</a:t>
            </a:r>
            <a:br>
              <a:rPr lang="ru-RU" sz="1600" dirty="0" smtClean="0"/>
            </a:br>
            <a:endParaRPr lang="ru-RU" altLang="ru-RU" sz="1600" b="0" dirty="0" smtClean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</p:nvPr>
        </p:nvGraphicFramePr>
        <p:xfrm>
          <a:off x="323528" y="1916833"/>
          <a:ext cx="8280920" cy="4320478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3811853"/>
                <a:gridCol w="2103090"/>
                <a:gridCol w="2365977"/>
              </a:tblGrid>
              <a:tr h="139217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ru-RU" sz="1600" dirty="0">
                        <a:solidFill>
                          <a:srgbClr val="000000"/>
                        </a:solidFill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Исполнение бюджета Константиновского района за 2017 год</a:t>
                      </a:r>
                      <a:endParaRPr lang="ru-RU" sz="1600" b="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Исполнение бюджета Константиновского района за 2018 год</a:t>
                      </a:r>
                      <a:endParaRPr lang="ru-RU" sz="1600" b="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53448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сего</a:t>
                      </a:r>
                      <a:endParaRPr lang="ru-RU" sz="16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088252,9</a:t>
                      </a:r>
                      <a:endParaRPr lang="ru-RU" sz="16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039387,2</a:t>
                      </a:r>
                      <a:endParaRPr lang="ru-RU" sz="16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6378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Дотации</a:t>
                      </a:r>
                      <a:endParaRPr lang="ru-RU" sz="16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05120,1</a:t>
                      </a:r>
                      <a:endParaRPr lang="ru-RU" sz="16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51211,7</a:t>
                      </a:r>
                      <a:endParaRPr lang="ru-RU" sz="16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54313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Субсидии</a:t>
                      </a:r>
                      <a:endParaRPr lang="ru-RU" sz="16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205754,5</a:t>
                      </a:r>
                      <a:endParaRPr lang="ru-RU" sz="16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83120,4</a:t>
                      </a:r>
                      <a:endParaRPr lang="ru-RU" sz="16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53051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Субвенции</a:t>
                      </a:r>
                      <a:endParaRPr lang="ru-RU" sz="16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535847,2</a:t>
                      </a:r>
                      <a:endParaRPr lang="ru-RU" sz="16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575464,0</a:t>
                      </a:r>
                      <a:endParaRPr lang="ru-RU" sz="16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68236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Иные межбюджетные трансферты</a:t>
                      </a:r>
                      <a:endParaRPr lang="ru-RU" sz="16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241531,1</a:t>
                      </a:r>
                      <a:endParaRPr lang="ru-RU" sz="16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29591,1</a:t>
                      </a:r>
                      <a:endParaRPr lang="ru-RU" sz="16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104495" name="TextBox 1"/>
          <p:cNvSpPr txBox="1">
            <a:spLocks noChangeArrowheads="1"/>
          </p:cNvSpPr>
          <p:nvPr/>
        </p:nvSpPr>
        <p:spPr bwMode="auto">
          <a:xfrm>
            <a:off x="8675688" y="6597650"/>
            <a:ext cx="42545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/>
              <a:t>11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04" y="116632"/>
            <a:ext cx="9143820" cy="790024"/>
          </a:xfrm>
          <a:effectLst>
            <a:reflection endPos="0" dir="5400000" sy="-100000" algn="bl" rotWithShape="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 fontScale="90000"/>
          </a:bodyPr>
          <a:lstStyle/>
          <a:p>
            <a:pPr algn="ctr">
              <a:defRPr/>
            </a:pPr>
            <a:r>
              <a:rPr lang="en-US" sz="2000" dirty="0" smtClean="0">
                <a:solidFill>
                  <a:schemeClr val="tx1"/>
                </a:solidFill>
                <a:effectLst>
                  <a:reflection blurRad="6350" endPos="0" dir="5400000" sy="-100000" algn="bl" rotWithShape="0"/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sz="2000" dirty="0" smtClean="0">
                <a:solidFill>
                  <a:schemeClr val="tx1"/>
                </a:solidFill>
                <a:effectLst>
                  <a:reflection blurRad="6350" endPos="0" dir="5400000" sy="-100000" algn="bl" rotWithShape="0"/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dirty="0" smtClean="0">
                <a:solidFill>
                  <a:schemeClr val="tx1"/>
                </a:solidFill>
                <a:effectLst>
                  <a:reflection blurRad="6350" endPos="0" dir="5400000" sy="-100000" algn="bl" rotWithShape="0"/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Динамика расходов консолидированного бюджета и бюджета Константиновского района в 2018 году</a:t>
            </a:r>
            <a:br>
              <a:rPr lang="ru-RU" sz="2000" dirty="0" smtClean="0">
                <a:solidFill>
                  <a:schemeClr val="tx1"/>
                </a:solidFill>
                <a:effectLst>
                  <a:reflection blurRad="6350" endPos="0" dir="5400000" sy="-100000" algn="bl" rotWithShape="0"/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000" dirty="0">
              <a:solidFill>
                <a:schemeClr val="tx1"/>
              </a:solidFill>
              <a:effectLst>
                <a:reflection blurRad="6350" endPos="0" dir="5400000" sy="-100000" algn="bl" rotWithShape="0"/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Объект 3"/>
          <p:cNvGraphicFramePr>
            <a:graphicFrameLocks noGrp="1"/>
          </p:cNvGraphicFramePr>
          <p:nvPr>
            <p:ph idx="1"/>
          </p:nvPr>
        </p:nvGraphicFramePr>
        <p:xfrm>
          <a:off x="101600" y="1125538"/>
          <a:ext cx="8712200" cy="57324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0356" name="TextBox 2"/>
          <p:cNvSpPr txBox="1">
            <a:spLocks noChangeArrowheads="1"/>
          </p:cNvSpPr>
          <p:nvPr/>
        </p:nvSpPr>
        <p:spPr bwMode="auto">
          <a:xfrm>
            <a:off x="8675688" y="6597650"/>
            <a:ext cx="3143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/>
              <a:t>8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950" y="404813"/>
            <a:ext cx="8785225" cy="936625"/>
          </a:xfrm>
        </p:spPr>
        <p:txBody>
          <a:bodyPr>
            <a:normAutofit/>
          </a:bodyPr>
          <a:lstStyle/>
          <a:p>
            <a:pPr algn="ctr">
              <a:defRPr/>
            </a:pPr>
            <a:r>
              <a:rPr lang="ru-RU" sz="2400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уктура</a:t>
            </a:r>
            <a:r>
              <a:rPr lang="en-US" sz="2400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ходов консолидированного бюджета Константиновского района в 2017 году    1209798,2 тыс. рублей</a:t>
            </a:r>
            <a:endParaRPr lang="ru-RU" sz="2400" dirty="0">
              <a:solidFill>
                <a:schemeClr val="bg2">
                  <a:lumMod val="1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Объект 3"/>
          <p:cNvGraphicFramePr>
            <a:graphicFrameLocks noGrp="1"/>
          </p:cNvGraphicFramePr>
          <p:nvPr>
            <p:ph idx="1"/>
          </p:nvPr>
        </p:nvGraphicFramePr>
        <p:xfrm>
          <a:off x="301625" y="1247775"/>
          <a:ext cx="8569325" cy="5111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8308" name="TextBox 2"/>
          <p:cNvSpPr txBox="1">
            <a:spLocks noChangeArrowheads="1"/>
          </p:cNvSpPr>
          <p:nvPr/>
        </p:nvSpPr>
        <p:spPr bwMode="auto">
          <a:xfrm>
            <a:off x="8585200" y="6610350"/>
            <a:ext cx="3143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/>
              <a:t>6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950" y="404813"/>
            <a:ext cx="8785225" cy="936625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400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уктура</a:t>
            </a:r>
            <a:r>
              <a:rPr lang="en-US" sz="2400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ходов бюджета Константиновского района </a:t>
            </a:r>
            <a:br>
              <a:rPr lang="ru-RU" sz="2400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18 году    1187766,5 тыс. рублей</a:t>
            </a:r>
            <a:r>
              <a:rPr lang="ru-RU" sz="2400" dirty="0" smtClean="0"/>
              <a:t/>
            </a:r>
            <a:br>
              <a:rPr lang="ru-RU" sz="2400" dirty="0" smtClean="0"/>
            </a:br>
            <a:endParaRPr lang="ru-RU" sz="2400" dirty="0">
              <a:solidFill>
                <a:schemeClr val="bg2">
                  <a:lumMod val="1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Объект 3"/>
          <p:cNvGraphicFramePr>
            <a:graphicFrameLocks noGrp="1"/>
          </p:cNvGraphicFramePr>
          <p:nvPr>
            <p:ph idx="1"/>
          </p:nvPr>
        </p:nvGraphicFramePr>
        <p:xfrm>
          <a:off x="301625" y="1247775"/>
          <a:ext cx="8569325" cy="5111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8308" name="TextBox 2"/>
          <p:cNvSpPr txBox="1">
            <a:spLocks noChangeArrowheads="1"/>
          </p:cNvSpPr>
          <p:nvPr/>
        </p:nvSpPr>
        <p:spPr bwMode="auto">
          <a:xfrm>
            <a:off x="8585200" y="6610350"/>
            <a:ext cx="3143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/>
              <a:t>6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Заголовок 1"/>
          <p:cNvSpPr>
            <a:spLocks noGrp="1"/>
          </p:cNvSpPr>
          <p:nvPr>
            <p:ph type="title"/>
          </p:nvPr>
        </p:nvSpPr>
        <p:spPr>
          <a:xfrm>
            <a:off x="179388" y="404813"/>
            <a:ext cx="8713787" cy="935955"/>
          </a:xfrm>
        </p:spPr>
        <p:txBody>
          <a:bodyPr/>
          <a:lstStyle/>
          <a:p>
            <a:pPr algn="ctr"/>
            <a:r>
              <a:rPr lang="ru-RU" altLang="ru-RU" sz="2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Динамика расходов бюджета Константиновского района в 2017-2018 гг.</a:t>
            </a:r>
            <a:r>
              <a:rPr lang="ru-RU" sz="2400" dirty="0" smtClean="0"/>
              <a:t/>
            </a:r>
            <a:br>
              <a:rPr lang="ru-RU" sz="2400" dirty="0" smtClean="0"/>
            </a:br>
            <a:r>
              <a:rPr lang="ru-RU" sz="2400" dirty="0" smtClean="0"/>
              <a:t> </a:t>
            </a:r>
            <a:br>
              <a:rPr lang="ru-RU" sz="2400" dirty="0" smtClean="0"/>
            </a:br>
            <a:endParaRPr lang="ru-RU" altLang="ru-RU" sz="240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5476" name="TextBox 1"/>
          <p:cNvSpPr txBox="1">
            <a:spLocks noChangeArrowheads="1"/>
          </p:cNvSpPr>
          <p:nvPr/>
        </p:nvSpPr>
        <p:spPr bwMode="auto">
          <a:xfrm>
            <a:off x="8591550" y="6602413"/>
            <a:ext cx="4413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/>
              <a:t>12</a:t>
            </a:r>
          </a:p>
        </p:txBody>
      </p:sp>
      <p:graphicFrame>
        <p:nvGraphicFramePr>
          <p:cNvPr id="7" name="Содержимое 6"/>
          <p:cNvGraphicFramePr>
            <a:graphicFrameLocks noGrp="1"/>
          </p:cNvGraphicFramePr>
          <p:nvPr>
            <p:ph idx="1"/>
          </p:nvPr>
        </p:nvGraphicFramePr>
        <p:xfrm>
          <a:off x="125413" y="1298575"/>
          <a:ext cx="8793162" cy="3930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Заголовок 1"/>
          <p:cNvSpPr>
            <a:spLocks noGrp="1"/>
          </p:cNvSpPr>
          <p:nvPr>
            <p:ph type="title"/>
          </p:nvPr>
        </p:nvSpPr>
        <p:spPr>
          <a:xfrm>
            <a:off x="395537" y="549275"/>
            <a:ext cx="8424936" cy="800219"/>
          </a:xfrm>
        </p:spPr>
        <p:txBody>
          <a:bodyPr/>
          <a:lstStyle/>
          <a:p>
            <a:pPr algn="ctr"/>
            <a:r>
              <a:rPr lang="ru-RU" altLang="ru-RU" sz="1800" dirty="0" smtClean="0">
                <a:solidFill>
                  <a:srgbClr val="0D0D0D"/>
                </a:solidFill>
                <a:latin typeface="Times New Roman" pitchFamily="18" charset="0"/>
                <a:cs typeface="Times New Roman" pitchFamily="18" charset="0"/>
              </a:rPr>
              <a:t>Доля расходов на реализацию муниципальных программ Константиновского района в общем объеме расходов в 2018 году – 96,2%</a:t>
            </a:r>
            <a:r>
              <a:rPr lang="ru-RU" sz="1600" dirty="0" smtClean="0"/>
              <a:t/>
            </a:r>
            <a:br>
              <a:rPr lang="ru-RU" sz="1600" dirty="0" smtClean="0"/>
            </a:br>
            <a:endParaRPr lang="ru-RU" altLang="ru-RU" sz="1600" b="0" dirty="0" smtClean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</p:nvPr>
        </p:nvGraphicFramePr>
        <p:xfrm>
          <a:off x="323528" y="1340769"/>
          <a:ext cx="8280920" cy="4761521"/>
        </p:xfrm>
        <a:graphic>
          <a:graphicData uri="http://schemas.openxmlformats.org/drawingml/2006/table">
            <a:tbl>
              <a:tblPr firstRow="1" bandRow="1">
                <a:tableStyleId>{5DA37D80-6434-44D0-A028-1B22A696006F}</a:tableStyleId>
              </a:tblPr>
              <a:tblGrid>
                <a:gridCol w="7461027"/>
                <a:gridCol w="819893"/>
              </a:tblGrid>
              <a:tr h="25311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0" i="0" u="none" strike="noStrike" spc="1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Развитие здравоохранения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0,7%</a:t>
                      </a:r>
                    </a:p>
                  </a:txBody>
                  <a:tcPr marL="68580" marR="68580" marT="0" marB="0"/>
                </a:tc>
              </a:tr>
              <a:tr h="1898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0" i="0" u="none" strike="noStrike" spc="1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Развитие образования</a:t>
                      </a: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36,7%</a:t>
                      </a:r>
                    </a:p>
                  </a:txBody>
                  <a:tcPr marL="68580" marR="68580" marT="0" marB="0"/>
                </a:tc>
              </a:tr>
              <a:tr h="18881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0" i="0" u="none" strike="noStrike" spc="1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Молодежь Константиновского района</a:t>
                      </a: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0,1%</a:t>
                      </a:r>
                    </a:p>
                  </a:txBody>
                  <a:tcPr marL="68580" marR="68580" marT="0" marB="0"/>
                </a:tc>
              </a:tr>
              <a:tr h="19085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0" i="0" u="none" strike="noStrike" spc="1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Социальная поддержка граждан</a:t>
                      </a: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24,7%</a:t>
                      </a:r>
                    </a:p>
                  </a:txBody>
                  <a:tcPr marL="68580" marR="68580" marT="0" marB="0"/>
                </a:tc>
              </a:tr>
              <a:tr h="18676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0" i="0" u="none" strike="noStrike" spc="1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Доступная среда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0,1%</a:t>
                      </a:r>
                    </a:p>
                  </a:txBody>
                  <a:tcPr marL="68580" marR="68580" marT="0" marB="0"/>
                </a:tc>
              </a:tr>
              <a:tr h="19085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0" i="0" u="none" strike="noStrike" spc="1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Обеспечение доступным и комфортным жильем населения Константиновского района</a:t>
                      </a: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2,0%</a:t>
                      </a:r>
                    </a:p>
                  </a:txBody>
                  <a:tcPr marL="68580" marR="68580" marT="0" marB="0"/>
                </a:tc>
              </a:tr>
              <a:tr h="17756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0" i="0" u="none" strike="noStrike" spc="1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Обеспечение качественными жилищно-коммунальными услугами населения Константиновского района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3,7%</a:t>
                      </a:r>
                    </a:p>
                  </a:txBody>
                  <a:tcPr marL="68580" marR="68580" marT="0" marB="0"/>
                </a:tc>
              </a:tr>
              <a:tr h="19801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0" i="0" u="none" strike="noStrike" spc="1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Обеспечение общественного порядка и противодействие преступности</a:t>
                      </a: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0,1%</a:t>
                      </a:r>
                    </a:p>
                  </a:txBody>
                  <a:tcPr marL="68580" marR="68580" marT="0" marB="0"/>
                </a:tc>
              </a:tr>
              <a:tr h="30923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0" i="0" u="none" strike="noStrike" spc="1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Защита населения и территории от чрезвычайных ситуаций, обеспечение пожарной безопасности и безопасности людей на водных объектах</a:t>
                      </a: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0,4%</a:t>
                      </a:r>
                    </a:p>
                  </a:txBody>
                  <a:tcPr marL="68580" marR="68580" marT="0" marB="0"/>
                </a:tc>
              </a:tr>
              <a:tr h="26231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0" i="0" u="none" strike="noStrike" spc="1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Развитие культуры и туризма</a:t>
                      </a: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6,0%</a:t>
                      </a:r>
                    </a:p>
                  </a:txBody>
                  <a:tcPr marL="68580" marR="68580" marT="0" marB="0"/>
                </a:tc>
              </a:tr>
              <a:tr h="21015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0" i="0" u="none" strike="noStrike" spc="1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Охрана окружающей среды и рациональное природопользование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0,1%</a:t>
                      </a:r>
                    </a:p>
                  </a:txBody>
                  <a:tcPr marL="68580" marR="68580" marT="0" marB="0"/>
                </a:tc>
              </a:tr>
              <a:tr h="1603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0" i="0" u="none" strike="noStrike" spc="1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Развитие физической культуры и спорта</a:t>
                      </a: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0,3%</a:t>
                      </a:r>
                    </a:p>
                  </a:txBody>
                  <a:tcPr marL="68580" marR="68580" marT="0" marB="0"/>
                </a:tc>
              </a:tr>
              <a:tr h="1898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0" i="0" u="none" strike="noStrike" spc="1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Экономическое развитие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0,1%</a:t>
                      </a:r>
                    </a:p>
                  </a:txBody>
                  <a:tcPr marL="68580" marR="68580" marT="0" marB="0"/>
                </a:tc>
              </a:tr>
              <a:tr h="18983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0" i="0" u="none" strike="noStrike" spc="1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Информационное общество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0,7%</a:t>
                      </a:r>
                    </a:p>
                  </a:txBody>
                  <a:tcPr marL="68580" marR="68580" marT="0" marB="0"/>
                </a:tc>
              </a:tr>
              <a:tr h="20313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0" i="0" u="none" strike="noStrike" spc="1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Развитие транспортной системы</a:t>
                      </a: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8%</a:t>
                      </a:r>
                    </a:p>
                  </a:txBody>
                  <a:tcPr marL="68580" marR="68580" marT="0" marB="0"/>
                </a:tc>
              </a:tr>
              <a:tr h="17551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0" i="0" u="none" strike="noStrike" spc="1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Развитие сельского хозяйства и регулирование рынков сельскохозяйственной продукции, сырья и продовольствия</a:t>
                      </a: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0,6%</a:t>
                      </a:r>
                    </a:p>
                  </a:txBody>
                  <a:tcPr marL="68580" marR="68580" marT="0" marB="0"/>
                </a:tc>
              </a:tr>
              <a:tr h="2041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0" i="0" u="none" strike="noStrike" spc="1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Энергоэффективность и развитие энергетики</a:t>
                      </a: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0,1%</a:t>
                      </a:r>
                    </a:p>
                  </a:txBody>
                  <a:tcPr marL="68580" marR="68580" marT="0" marB="0"/>
                </a:tc>
              </a:tr>
              <a:tr h="14340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0" i="0" u="none" strike="noStrike" spc="1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Муниципальная политика</a:t>
                      </a: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0,1%</a:t>
                      </a:r>
                    </a:p>
                  </a:txBody>
                  <a:tcPr marL="68580" marR="68580" marT="0" marB="0"/>
                </a:tc>
              </a:tr>
              <a:tr h="26436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0" i="0" u="none" strike="noStrike" spc="1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Поддержка казачьих обществ Константиновского района</a:t>
                      </a: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1%</a:t>
                      </a:r>
                    </a:p>
                  </a:txBody>
                  <a:tcPr marL="68580" marR="68580" marT="0" marB="0"/>
                </a:tc>
              </a:tr>
              <a:tr h="31639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0" i="0" u="none" strike="noStrike" spc="1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Управление муниципальными финансами и создание условий для эффективного управления муниципальными финансами поселений</a:t>
                      </a: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latin typeface="Times New Roman"/>
                          <a:ea typeface="Times New Roman"/>
                          <a:cs typeface="Times New Roman"/>
                        </a:rPr>
                        <a:t>0,6%</a:t>
                      </a:r>
                    </a:p>
                  </a:txBody>
                  <a:tcPr marL="68580" marR="68580" marT="0" marB="0"/>
                </a:tc>
              </a:tr>
              <a:tr h="5480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0" i="0" u="none" strike="noStrike" spc="1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Формирование законопослушного поведения участников дорожного </a:t>
                      </a:r>
                      <a:r>
                        <a:rPr lang="ru-RU" sz="1000" b="0" i="0" u="none" strike="noStrike" spc="1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движения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latin typeface="Times New Roman"/>
                          <a:ea typeface="Times New Roman"/>
                          <a:cs typeface="Times New Roman"/>
                        </a:rPr>
                        <a:t>0,1%</a:t>
                      </a: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104495" name="TextBox 1"/>
          <p:cNvSpPr txBox="1">
            <a:spLocks noChangeArrowheads="1"/>
          </p:cNvSpPr>
          <p:nvPr/>
        </p:nvSpPr>
        <p:spPr bwMode="auto">
          <a:xfrm>
            <a:off x="8675688" y="6597650"/>
            <a:ext cx="42545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/>
              <a:t>11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3522" name="Picture 2" descr="https://yandex.ru/images/_crpd/QI15K3y00/c32ef69Tu2gu/U-eYejlmHsjQI33Wml1Z2Uehd01qE4KtTH7wqHm0Q8PeZVReaARt_wDmbpxi7nyEKRBeLBBKNK0wmRkal2pMCvNGbJptM5_t0RJ6wxpZPQ3S9AIYftIXCDhfBdg4sKdzrqaBamkAqPr1kB7MIo-A"/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</a:blip>
          <a:stretch>
            <a:fillRect/>
          </a:stretch>
        </p:blipFill>
        <p:spPr bwMode="auto">
          <a:xfrm>
            <a:off x="155575" y="1556792"/>
            <a:ext cx="8610600" cy="4752528"/>
          </a:xfrm>
          <a:prstGeom prst="rect">
            <a:avLst/>
          </a:prstGeom>
          <a:noFill/>
          <a:ln>
            <a:noFill/>
          </a:ln>
        </p:spPr>
      </p:pic>
      <p:sp>
        <p:nvSpPr>
          <p:cNvPr id="104450" name="Заголовок 1"/>
          <p:cNvSpPr>
            <a:spLocks noGrp="1"/>
          </p:cNvSpPr>
          <p:nvPr>
            <p:ph type="title"/>
          </p:nvPr>
        </p:nvSpPr>
        <p:spPr>
          <a:xfrm>
            <a:off x="1116013" y="549275"/>
            <a:ext cx="6511925" cy="677108"/>
          </a:xfrm>
        </p:spPr>
        <p:txBody>
          <a:bodyPr/>
          <a:lstStyle/>
          <a:p>
            <a:pPr algn="ctr"/>
            <a:r>
              <a:rPr lang="ru-RU" altLang="ru-RU" sz="1600" dirty="0" smtClean="0">
                <a:solidFill>
                  <a:srgbClr val="0D0D0D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/>
              <a:t>Основные характеристики бюджета Константиновского района за 2018 год</a:t>
            </a:r>
            <a:r>
              <a:rPr lang="ru-RU" altLang="ru-RU" sz="2800" dirty="0" smtClean="0">
                <a:solidFill>
                  <a:srgbClr val="0D0D0D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ru-RU" sz="1600" b="0" dirty="0" smtClean="0">
                <a:solidFill>
                  <a:srgbClr val="0D0D0D"/>
                </a:solidFill>
                <a:latin typeface="Times New Roman" pitchFamily="18" charset="0"/>
                <a:cs typeface="Times New Roman" pitchFamily="18" charset="0"/>
              </a:rPr>
              <a:t>(тыс. руб.)</a:t>
            </a:r>
            <a:endParaRPr lang="ru-RU" altLang="ru-RU" sz="1600" b="0" dirty="0" smtClean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</p:nvPr>
        </p:nvGraphicFramePr>
        <p:xfrm>
          <a:off x="395288" y="1484313"/>
          <a:ext cx="8281168" cy="4283631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725278"/>
                <a:gridCol w="1288322"/>
                <a:gridCol w="1449363"/>
                <a:gridCol w="1529883"/>
                <a:gridCol w="1288322"/>
              </a:tblGrid>
              <a:tr h="71738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Показатель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Плановые бюджетные назначения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Исполнено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% исполнения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Динамика к 2017 году, %</a:t>
                      </a:r>
                    </a:p>
                  </a:txBody>
                  <a:tcPr marL="68580" marR="68580" marT="0" marB="0"/>
                </a:tc>
              </a:tr>
              <a:tr h="57923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000" dirty="0">
                          <a:latin typeface="Times New Roman"/>
                          <a:ea typeface="Times New Roman"/>
                          <a:cs typeface="Times New Roman"/>
                        </a:rPr>
                        <a:t>I</a:t>
                      </a:r>
                      <a:r>
                        <a:rPr lang="ru-RU" sz="2000" dirty="0">
                          <a:latin typeface="Times New Roman"/>
                          <a:ea typeface="Times New Roman"/>
                          <a:cs typeface="Times New Roman"/>
                        </a:rPr>
                        <a:t>. Доходы, всего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>
                          <a:latin typeface="Times New Roman"/>
                          <a:ea typeface="Times New Roman"/>
                          <a:cs typeface="Times New Roman"/>
                        </a:rPr>
                        <a:t>1241647,4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>
                          <a:latin typeface="Times New Roman"/>
                          <a:ea typeface="Times New Roman"/>
                          <a:cs typeface="Times New Roman"/>
                        </a:rPr>
                        <a:t>1200500,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>
                          <a:latin typeface="Times New Roman"/>
                          <a:ea typeface="Times New Roman"/>
                          <a:cs typeface="Times New Roman"/>
                        </a:rPr>
                        <a:t>96,7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>
                          <a:latin typeface="Times New Roman"/>
                          <a:ea typeface="Times New Roman"/>
                          <a:cs typeface="Times New Roman"/>
                        </a:rPr>
                        <a:t>96,9</a:t>
                      </a:r>
                    </a:p>
                  </a:txBody>
                  <a:tcPr marL="68580" marR="68580" marT="0" marB="0"/>
                </a:tc>
              </a:tr>
              <a:tr h="106678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2000" dirty="0">
                          <a:latin typeface="Times New Roman"/>
                          <a:ea typeface="Times New Roman"/>
                          <a:cs typeface="Times New Roman"/>
                        </a:rPr>
                        <a:t>Безвозмездные поступления, всего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latin typeface="Times New Roman"/>
                          <a:ea typeface="Times New Roman"/>
                          <a:cs typeface="Times New Roman"/>
                        </a:rPr>
                        <a:t>1107413,5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>
                          <a:latin typeface="Times New Roman"/>
                          <a:ea typeface="Times New Roman"/>
                          <a:cs typeface="Times New Roman"/>
                        </a:rPr>
                        <a:t>1039224,8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>
                          <a:latin typeface="Times New Roman"/>
                          <a:ea typeface="Times New Roman"/>
                          <a:cs typeface="Times New Roman"/>
                        </a:rPr>
                        <a:t>93,8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>
                          <a:latin typeface="Times New Roman"/>
                          <a:ea typeface="Times New Roman"/>
                          <a:cs typeface="Times New Roman"/>
                        </a:rPr>
                        <a:t>95,5</a:t>
                      </a:r>
                    </a:p>
                  </a:txBody>
                  <a:tcPr marL="68580" marR="68580" marT="0" marB="0"/>
                </a:tc>
              </a:tr>
              <a:tr h="131062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000">
                          <a:latin typeface="Times New Roman"/>
                          <a:ea typeface="Times New Roman"/>
                          <a:cs typeface="Times New Roman"/>
                        </a:rPr>
                        <a:t>II</a:t>
                      </a:r>
                      <a:r>
                        <a:rPr lang="ru-RU" sz="2000">
                          <a:latin typeface="Times New Roman"/>
                          <a:ea typeface="Times New Roman"/>
                          <a:cs typeface="Times New Roman"/>
                        </a:rPr>
                        <a:t>. Расходы, всего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latin typeface="Times New Roman"/>
                          <a:ea typeface="Times New Roman"/>
                          <a:cs typeface="Times New Roman"/>
                        </a:rPr>
                        <a:t>1324317,6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latin typeface="Times New Roman"/>
                          <a:ea typeface="Times New Roman"/>
                          <a:cs typeface="Times New Roman"/>
                        </a:rPr>
                        <a:t>1187766,5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latin typeface="Times New Roman"/>
                          <a:ea typeface="Times New Roman"/>
                          <a:cs typeface="Times New Roman"/>
                        </a:rPr>
                        <a:t>89,7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latin typeface="Times New Roman"/>
                          <a:ea typeface="Times New Roman"/>
                          <a:cs typeface="Times New Roman"/>
                        </a:rPr>
                        <a:t>90,6</a:t>
                      </a:r>
                    </a:p>
                  </a:txBody>
                  <a:tcPr marL="68580" marR="68580" marT="0" marB="0"/>
                </a:tc>
              </a:tr>
              <a:tr h="41898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000">
                          <a:latin typeface="Times New Roman"/>
                          <a:ea typeface="Times New Roman"/>
                          <a:cs typeface="Times New Roman"/>
                        </a:rPr>
                        <a:t>III</a:t>
                      </a:r>
                      <a:r>
                        <a:rPr lang="ru-RU" sz="2000">
                          <a:latin typeface="Times New Roman"/>
                          <a:ea typeface="Times New Roman"/>
                          <a:cs typeface="Times New Roman"/>
                        </a:rPr>
                        <a:t>. Профицит (дефицит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>
                          <a:latin typeface="Times New Roman"/>
                          <a:ea typeface="Times New Roman"/>
                          <a:cs typeface="Times New Roman"/>
                        </a:rPr>
                        <a:t>-82670,2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>
                          <a:latin typeface="Times New Roman"/>
                          <a:ea typeface="Times New Roman"/>
                          <a:cs typeface="Times New Roman"/>
                        </a:rPr>
                        <a:t>12733,6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latin typeface="Times New Roman"/>
                          <a:ea typeface="Times New Roman"/>
                          <a:cs typeface="Times New Roman"/>
                        </a:rPr>
                        <a:t>-</a:t>
                      </a: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104495" name="TextBox 1"/>
          <p:cNvSpPr txBox="1">
            <a:spLocks noChangeArrowheads="1"/>
          </p:cNvSpPr>
          <p:nvPr/>
        </p:nvSpPr>
        <p:spPr bwMode="auto">
          <a:xfrm>
            <a:off x="8675688" y="6597650"/>
            <a:ext cx="42545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/>
              <a:t>11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Заголовок 1"/>
          <p:cNvSpPr>
            <a:spLocks noGrp="1"/>
          </p:cNvSpPr>
          <p:nvPr>
            <p:ph type="title"/>
          </p:nvPr>
        </p:nvSpPr>
        <p:spPr>
          <a:xfrm>
            <a:off x="395537" y="549275"/>
            <a:ext cx="8424936" cy="1046440"/>
          </a:xfrm>
        </p:spPr>
        <p:txBody>
          <a:bodyPr/>
          <a:lstStyle/>
          <a:p>
            <a:pPr algn="ctr"/>
            <a:r>
              <a:rPr lang="ru-RU" altLang="ru-RU" sz="1800" dirty="0" smtClean="0">
                <a:solidFill>
                  <a:srgbClr val="0D0D0D"/>
                </a:solidFill>
                <a:latin typeface="Times New Roman" pitchFamily="18" charset="0"/>
                <a:cs typeface="Times New Roman" pitchFamily="18" charset="0"/>
              </a:rPr>
              <a:t>Информация о расходах на реализацию муниципальных программ Константиновского района в 2018 году</a:t>
            </a:r>
            <a:br>
              <a:rPr lang="ru-RU" altLang="ru-RU" sz="1800" dirty="0" smtClean="0">
                <a:solidFill>
                  <a:srgbClr val="0D0D0D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600" dirty="0" smtClean="0"/>
              <a:t/>
            </a:r>
            <a:br>
              <a:rPr lang="ru-RU" sz="1600" dirty="0" smtClean="0"/>
            </a:br>
            <a:endParaRPr lang="ru-RU" altLang="ru-RU" sz="1600" b="0" dirty="0" smtClean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</p:nvPr>
        </p:nvGraphicFramePr>
        <p:xfrm>
          <a:off x="323528" y="1340769"/>
          <a:ext cx="8280920" cy="5666740"/>
        </p:xfrm>
        <a:graphic>
          <a:graphicData uri="http://schemas.openxmlformats.org/drawingml/2006/table">
            <a:tbl>
              <a:tblPr firstRow="1" bandRow="1">
                <a:tableStyleId>{5DA37D80-6434-44D0-A028-1B22A696006F}</a:tableStyleId>
              </a:tblPr>
              <a:tblGrid>
                <a:gridCol w="5040560"/>
                <a:gridCol w="1872208"/>
                <a:gridCol w="1368152"/>
              </a:tblGrid>
              <a:tr h="25311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50" b="0" i="0" u="none" strike="noStrike" spc="1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Наименование </a:t>
                      </a: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муниципальных программ Константиновского района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уточненный план на 01.01.2018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Фактическое исполнение за 2018 год</a:t>
                      </a:r>
                    </a:p>
                  </a:txBody>
                  <a:tcPr marL="68580" marR="68580" marT="0" marB="0"/>
                </a:tc>
              </a:tr>
              <a:tr h="189834">
                <a:tc>
                  <a:txBody>
                    <a:bodyPr/>
                    <a:lstStyle/>
                    <a:p>
                      <a:pPr algn="l">
                        <a:lnSpc>
                          <a:spcPts val="3135"/>
                        </a:lnSpc>
                        <a:spcBef>
                          <a:spcPts val="2100"/>
                        </a:spcBef>
                        <a:spcAft>
                          <a:spcPts val="0"/>
                        </a:spcAft>
                      </a:pPr>
                      <a:r>
                        <a:rPr lang="ru-RU" sz="1100" b="1" i="0" u="none" strike="noStrike" spc="1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Всего:</a:t>
                      </a:r>
                      <a:endParaRPr lang="ru-RU" sz="1200" spc="1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Times New Roman"/>
                          <a:ea typeface="Times New Roman"/>
                          <a:cs typeface="Times New Roman"/>
                        </a:rPr>
                        <a:t>1277337,0</a:t>
                      </a:r>
                      <a:endParaRPr lang="ru-RU" sz="11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Times New Roman"/>
                          <a:ea typeface="Times New Roman"/>
                          <a:cs typeface="Times New Roman"/>
                        </a:rPr>
                        <a:t>1142225,4</a:t>
                      </a:r>
                      <a:endParaRPr lang="ru-RU" sz="11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88812">
                <a:tc>
                  <a:txBody>
                    <a:bodyPr/>
                    <a:lstStyle/>
                    <a:p>
                      <a:pPr algn="l">
                        <a:lnSpc>
                          <a:spcPts val="3135"/>
                        </a:lnSpc>
                        <a:spcBef>
                          <a:spcPts val="2100"/>
                        </a:spcBef>
                        <a:spcAft>
                          <a:spcPts val="0"/>
                        </a:spcAft>
                      </a:pPr>
                      <a:r>
                        <a:rPr lang="ru-RU" sz="1100" b="0" i="0" u="none" strike="noStrike" spc="1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. Развитие здравоохранения</a:t>
                      </a:r>
                      <a:endParaRPr lang="ru-RU" sz="1200" spc="1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19857,9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8350,9</a:t>
                      </a:r>
                    </a:p>
                  </a:txBody>
                  <a:tcPr marL="68580" marR="68580" marT="0" marB="0"/>
                </a:tc>
              </a:tr>
              <a:tr h="190857">
                <a:tc>
                  <a:txBody>
                    <a:bodyPr/>
                    <a:lstStyle/>
                    <a:p>
                      <a:pPr algn="l">
                        <a:lnSpc>
                          <a:spcPts val="3135"/>
                        </a:lnSpc>
                        <a:spcBef>
                          <a:spcPts val="2100"/>
                        </a:spcBef>
                        <a:spcAft>
                          <a:spcPts val="0"/>
                        </a:spcAft>
                      </a:pPr>
                      <a:r>
                        <a:rPr lang="ru-RU" sz="1100" b="0" i="0" u="none" strike="noStrike" spc="1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2. Развитие образования</a:t>
                      </a:r>
                      <a:endParaRPr lang="ru-RU" sz="1200" spc="1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438513,2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435999,6</a:t>
                      </a:r>
                    </a:p>
                  </a:txBody>
                  <a:tcPr marL="68580" marR="68580" marT="0" marB="0"/>
                </a:tc>
              </a:tr>
              <a:tr h="186766">
                <a:tc>
                  <a:txBody>
                    <a:bodyPr/>
                    <a:lstStyle/>
                    <a:p>
                      <a:pPr algn="l">
                        <a:lnSpc>
                          <a:spcPts val="3135"/>
                        </a:lnSpc>
                        <a:spcBef>
                          <a:spcPts val="2100"/>
                        </a:spcBef>
                        <a:spcAft>
                          <a:spcPts val="0"/>
                        </a:spcAft>
                      </a:pPr>
                      <a:r>
                        <a:rPr lang="ru-RU" sz="1100" b="0" i="0" u="none" strike="noStrike" spc="1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3. Молодежь Константиновского района</a:t>
                      </a:r>
                      <a:endParaRPr lang="ru-RU" sz="1200" spc="1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385,9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385,7</a:t>
                      </a:r>
                    </a:p>
                  </a:txBody>
                  <a:tcPr marL="68580" marR="68580" marT="0" marB="0"/>
                </a:tc>
              </a:tr>
              <a:tr h="190857">
                <a:tc>
                  <a:txBody>
                    <a:bodyPr/>
                    <a:lstStyle/>
                    <a:p>
                      <a:pPr algn="l">
                        <a:lnSpc>
                          <a:spcPts val="3135"/>
                        </a:lnSpc>
                        <a:spcBef>
                          <a:spcPts val="2100"/>
                        </a:spcBef>
                        <a:spcAft>
                          <a:spcPts val="0"/>
                        </a:spcAft>
                      </a:pPr>
                      <a:r>
                        <a:rPr lang="ru-RU" sz="1100" b="0" i="0" u="none" strike="noStrike" spc="1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4. Социальная поддержка граждан</a:t>
                      </a:r>
                      <a:endParaRPr lang="ru-RU" sz="1200" spc="1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299324,6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293863,0</a:t>
                      </a:r>
                    </a:p>
                  </a:txBody>
                  <a:tcPr marL="68580" marR="68580" marT="0" marB="0"/>
                </a:tc>
              </a:tr>
              <a:tr h="177560">
                <a:tc>
                  <a:txBody>
                    <a:bodyPr/>
                    <a:lstStyle/>
                    <a:p>
                      <a:pPr algn="l">
                        <a:lnSpc>
                          <a:spcPts val="3135"/>
                        </a:lnSpc>
                        <a:spcBef>
                          <a:spcPts val="2100"/>
                        </a:spcBef>
                        <a:spcAft>
                          <a:spcPts val="0"/>
                        </a:spcAft>
                      </a:pPr>
                      <a:r>
                        <a:rPr lang="ru-RU" sz="1100" b="0" i="0" u="none" strike="noStrike" spc="1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5. Доступная среда</a:t>
                      </a:r>
                      <a:endParaRPr lang="ru-RU" sz="1200" spc="1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161,7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160,1</a:t>
                      </a:r>
                    </a:p>
                  </a:txBody>
                  <a:tcPr marL="68580" marR="68580" marT="0" marB="0"/>
                </a:tc>
              </a:tr>
              <a:tr h="198017">
                <a:tc>
                  <a:txBody>
                    <a:bodyPr/>
                    <a:lstStyle/>
                    <a:p>
                      <a:pPr algn="l">
                        <a:lnSpc>
                          <a:spcPts val="3135"/>
                        </a:lnSpc>
                        <a:spcBef>
                          <a:spcPts val="2100"/>
                        </a:spcBef>
                        <a:spcAft>
                          <a:spcPts val="0"/>
                        </a:spcAft>
                      </a:pPr>
                      <a:r>
                        <a:rPr lang="ru-RU" sz="1100" b="0" i="0" u="none" strike="noStrike" spc="1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6. Обеспечение доступным и комфортным жильем населения Константиновского района</a:t>
                      </a:r>
                      <a:endParaRPr lang="ru-RU" sz="1200" spc="1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24983,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24982,9</a:t>
                      </a:r>
                    </a:p>
                  </a:txBody>
                  <a:tcPr marL="68580" marR="68580" marT="0" marB="0"/>
                </a:tc>
              </a:tr>
              <a:tr h="309230">
                <a:tc>
                  <a:txBody>
                    <a:bodyPr/>
                    <a:lstStyle/>
                    <a:p>
                      <a:pPr algn="l">
                        <a:lnSpc>
                          <a:spcPts val="3135"/>
                        </a:lnSpc>
                        <a:spcBef>
                          <a:spcPts val="2100"/>
                        </a:spcBef>
                        <a:spcAft>
                          <a:spcPts val="0"/>
                        </a:spcAft>
                      </a:pPr>
                      <a:r>
                        <a:rPr lang="ru-RU" sz="1100" b="0" i="0" u="none" strike="noStrike" spc="1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7. Обеспечение качественными жилищно-коммунальными услугами населения Константиновского района</a:t>
                      </a:r>
                      <a:endParaRPr lang="ru-RU" sz="1200" spc="1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148718,3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43979,1</a:t>
                      </a:r>
                    </a:p>
                  </a:txBody>
                  <a:tcPr marL="68580" marR="68580" marT="0" marB="0"/>
                </a:tc>
              </a:tr>
              <a:tr h="262319">
                <a:tc>
                  <a:txBody>
                    <a:bodyPr/>
                    <a:lstStyle/>
                    <a:p>
                      <a:pPr algn="l">
                        <a:lnSpc>
                          <a:spcPts val="3135"/>
                        </a:lnSpc>
                        <a:spcBef>
                          <a:spcPts val="2100"/>
                        </a:spcBef>
                        <a:spcAft>
                          <a:spcPts val="0"/>
                        </a:spcAft>
                      </a:pPr>
                      <a:r>
                        <a:rPr lang="ru-RU" sz="1100" b="0" i="0" u="none" strike="noStrike" spc="1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8. Обеспечение общественного порядка и противодействие преступности</a:t>
                      </a:r>
                      <a:endParaRPr lang="ru-RU" sz="1200" spc="1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73,3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73,3</a:t>
                      </a:r>
                    </a:p>
                  </a:txBody>
                  <a:tcPr marL="68580" marR="68580" marT="0" marB="0"/>
                </a:tc>
              </a:tr>
              <a:tr h="210152">
                <a:tc>
                  <a:txBody>
                    <a:bodyPr/>
                    <a:lstStyle/>
                    <a:p>
                      <a:pPr algn="l">
                        <a:lnSpc>
                          <a:spcPts val="3135"/>
                        </a:lnSpc>
                        <a:spcBef>
                          <a:spcPts val="2100"/>
                        </a:spcBef>
                        <a:spcAft>
                          <a:spcPts val="0"/>
                        </a:spcAft>
                      </a:pPr>
                      <a:r>
                        <a:rPr lang="ru-RU" sz="1100" b="0" i="0" u="none" strike="noStrike" spc="1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9. Защита населения и территории от чрезвычайных ситуаций, обеспечение пожарной безопасности и безопасности людей на водных объектах</a:t>
                      </a:r>
                      <a:endParaRPr lang="ru-RU" sz="1200" spc="1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4824,9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4775,8</a:t>
                      </a: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104495" name="TextBox 1"/>
          <p:cNvSpPr txBox="1">
            <a:spLocks noChangeArrowheads="1"/>
          </p:cNvSpPr>
          <p:nvPr/>
        </p:nvSpPr>
        <p:spPr bwMode="auto">
          <a:xfrm>
            <a:off x="8675688" y="6597650"/>
            <a:ext cx="42545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/>
              <a:t>11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/>
          <p:cNvGraphicFramePr>
            <a:graphicFrameLocks noGrp="1"/>
          </p:cNvGraphicFramePr>
          <p:nvPr>
            <p:ph idx="1"/>
          </p:nvPr>
        </p:nvGraphicFramePr>
        <p:xfrm>
          <a:off x="323528" y="1124744"/>
          <a:ext cx="8352928" cy="5511800"/>
        </p:xfrm>
        <a:graphic>
          <a:graphicData uri="http://schemas.openxmlformats.org/drawingml/2006/table">
            <a:tbl>
              <a:tblPr firstRow="1" bandRow="1">
                <a:tableStyleId>{5DA37D80-6434-44D0-A028-1B22A696006F}</a:tableStyleId>
              </a:tblPr>
              <a:tblGrid>
                <a:gridCol w="6302664"/>
                <a:gridCol w="835293"/>
                <a:gridCol w="1214971"/>
              </a:tblGrid>
              <a:tr h="189834">
                <a:tc>
                  <a:txBody>
                    <a:bodyPr/>
                    <a:lstStyle/>
                    <a:p>
                      <a:pPr algn="l">
                        <a:lnSpc>
                          <a:spcPts val="3135"/>
                        </a:lnSpc>
                        <a:spcBef>
                          <a:spcPts val="2100"/>
                        </a:spcBef>
                        <a:spcAft>
                          <a:spcPts val="0"/>
                        </a:spcAft>
                      </a:pPr>
                      <a:r>
                        <a:rPr lang="ru-RU" sz="1200" b="0" i="0" u="none" strike="noStrike" spc="1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0. Развитие культуры и туризма</a:t>
                      </a:r>
                      <a:endParaRPr lang="ru-RU" sz="1250" spc="1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75986,2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73272,8</a:t>
                      </a:r>
                    </a:p>
                  </a:txBody>
                  <a:tcPr marL="68580" marR="68580" marT="0" marB="0"/>
                </a:tc>
              </a:tr>
              <a:tr h="189834">
                <a:tc>
                  <a:txBody>
                    <a:bodyPr/>
                    <a:lstStyle/>
                    <a:p>
                      <a:pPr algn="l">
                        <a:lnSpc>
                          <a:spcPts val="3135"/>
                        </a:lnSpc>
                        <a:spcBef>
                          <a:spcPts val="2100"/>
                        </a:spcBef>
                        <a:spcAft>
                          <a:spcPts val="0"/>
                        </a:spcAft>
                      </a:pPr>
                      <a:r>
                        <a:rPr lang="ru-RU" sz="1200" b="0" i="0" u="none" strike="noStrike" spc="1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1. Охрана окружающей среды и рациональное природопользование</a:t>
                      </a:r>
                      <a:endParaRPr lang="ru-RU" sz="1250" spc="1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811,5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799,6</a:t>
                      </a:r>
                    </a:p>
                  </a:txBody>
                  <a:tcPr marL="68580" marR="68580" marT="0" marB="0"/>
                </a:tc>
              </a:tr>
              <a:tr h="189834">
                <a:tc>
                  <a:txBody>
                    <a:bodyPr/>
                    <a:lstStyle/>
                    <a:p>
                      <a:pPr algn="l">
                        <a:lnSpc>
                          <a:spcPts val="3135"/>
                        </a:lnSpc>
                        <a:spcBef>
                          <a:spcPts val="2100"/>
                        </a:spcBef>
                        <a:spcAft>
                          <a:spcPts val="0"/>
                        </a:spcAft>
                      </a:pPr>
                      <a:r>
                        <a:rPr lang="ru-RU" sz="1200" b="0" i="0" u="none" strike="noStrike" spc="1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2. Развитие физической культуры и спорта</a:t>
                      </a:r>
                      <a:endParaRPr lang="ru-RU" sz="1250" spc="1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4076,3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4073,9</a:t>
                      </a:r>
                    </a:p>
                  </a:txBody>
                  <a:tcPr marL="68580" marR="68580" marT="0" marB="0"/>
                </a:tc>
              </a:tr>
              <a:tr h="188812">
                <a:tc>
                  <a:txBody>
                    <a:bodyPr/>
                    <a:lstStyle/>
                    <a:p>
                      <a:pPr algn="l">
                        <a:lnSpc>
                          <a:spcPts val="3135"/>
                        </a:lnSpc>
                        <a:spcBef>
                          <a:spcPts val="2100"/>
                        </a:spcBef>
                        <a:spcAft>
                          <a:spcPts val="0"/>
                        </a:spcAft>
                      </a:pPr>
                      <a:r>
                        <a:rPr lang="ru-RU" sz="1200" b="0" i="0" u="none" strike="noStrike" spc="1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3. Экономическое развитие</a:t>
                      </a:r>
                      <a:endParaRPr lang="ru-RU" sz="1250" spc="1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65,4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485,7</a:t>
                      </a:r>
                    </a:p>
                  </a:txBody>
                  <a:tcPr marL="68580" marR="68580" marT="0" marB="0"/>
                </a:tc>
              </a:tr>
              <a:tr h="190857">
                <a:tc>
                  <a:txBody>
                    <a:bodyPr/>
                    <a:lstStyle/>
                    <a:p>
                      <a:pPr algn="l">
                        <a:lnSpc>
                          <a:spcPts val="3135"/>
                        </a:lnSpc>
                        <a:spcBef>
                          <a:spcPts val="2100"/>
                        </a:spcBef>
                        <a:spcAft>
                          <a:spcPts val="0"/>
                        </a:spcAft>
                      </a:pPr>
                      <a:r>
                        <a:rPr lang="ru-RU" sz="1200" b="0" i="0" u="none" strike="noStrike" spc="1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4. Информационное общество</a:t>
                      </a:r>
                      <a:endParaRPr lang="ru-RU" sz="1250" spc="1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9211,5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9199,4</a:t>
                      </a:r>
                    </a:p>
                  </a:txBody>
                  <a:tcPr marL="68580" marR="68580" marT="0" marB="0"/>
                </a:tc>
              </a:tr>
              <a:tr h="186766">
                <a:tc>
                  <a:txBody>
                    <a:bodyPr/>
                    <a:lstStyle/>
                    <a:p>
                      <a:pPr algn="l">
                        <a:lnSpc>
                          <a:spcPts val="3135"/>
                        </a:lnSpc>
                        <a:spcBef>
                          <a:spcPts val="2100"/>
                        </a:spcBef>
                        <a:spcAft>
                          <a:spcPts val="0"/>
                        </a:spcAft>
                      </a:pPr>
                      <a:r>
                        <a:rPr lang="ru-RU" sz="1200" b="0" i="0" u="none" strike="noStrike" spc="1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5. Развитие транспортной системы</a:t>
                      </a:r>
                      <a:endParaRPr lang="ru-RU" sz="1250" spc="1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17874,3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14181,3</a:t>
                      </a:r>
                    </a:p>
                  </a:txBody>
                  <a:tcPr marL="68580" marR="68580" marT="0" marB="0"/>
                </a:tc>
              </a:tr>
              <a:tr h="190857">
                <a:tc>
                  <a:txBody>
                    <a:bodyPr/>
                    <a:lstStyle/>
                    <a:p>
                      <a:pPr algn="l">
                        <a:lnSpc>
                          <a:spcPts val="3135"/>
                        </a:lnSpc>
                        <a:spcBef>
                          <a:spcPts val="2100"/>
                        </a:spcBef>
                        <a:spcAft>
                          <a:spcPts val="0"/>
                        </a:spcAft>
                      </a:pPr>
                      <a:r>
                        <a:rPr lang="ru-RU" sz="1200" b="0" i="0" u="none" strike="noStrike" spc="1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6. Развитие сельского хозяйства и регулирование рынков сельскохозяйственной продукции, сырья и продовольствия</a:t>
                      </a:r>
                      <a:endParaRPr lang="ru-RU" sz="1250" spc="1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7670,8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7557,6</a:t>
                      </a:r>
                    </a:p>
                  </a:txBody>
                  <a:tcPr marL="68580" marR="68580" marT="0" marB="0"/>
                </a:tc>
              </a:tr>
              <a:tr h="177560">
                <a:tc>
                  <a:txBody>
                    <a:bodyPr/>
                    <a:lstStyle/>
                    <a:p>
                      <a:pPr algn="l">
                        <a:lnSpc>
                          <a:spcPts val="3135"/>
                        </a:lnSpc>
                        <a:spcBef>
                          <a:spcPts val="2100"/>
                        </a:spcBef>
                        <a:spcAft>
                          <a:spcPts val="0"/>
                        </a:spcAft>
                      </a:pPr>
                      <a:r>
                        <a:rPr lang="ru-RU" sz="1200" b="0" i="0" u="none" strike="noStrike" spc="1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7. Энергоэффективность и развитие энергетики</a:t>
                      </a:r>
                      <a:endParaRPr lang="ru-RU" sz="1250" spc="1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89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89</a:t>
                      </a:r>
                    </a:p>
                  </a:txBody>
                  <a:tcPr marL="68580" marR="68580" marT="0" marB="0"/>
                </a:tc>
              </a:tr>
              <a:tr h="198017">
                <a:tc>
                  <a:txBody>
                    <a:bodyPr/>
                    <a:lstStyle/>
                    <a:p>
                      <a:pPr algn="l">
                        <a:lnSpc>
                          <a:spcPts val="3135"/>
                        </a:lnSpc>
                        <a:spcBef>
                          <a:spcPts val="2100"/>
                        </a:spcBef>
                        <a:spcAft>
                          <a:spcPts val="0"/>
                        </a:spcAft>
                      </a:pPr>
                      <a:r>
                        <a:rPr lang="ru-RU" sz="1200" b="0" i="0" u="none" strike="noStrike" spc="1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8. Муниципальная политика</a:t>
                      </a:r>
                      <a:endParaRPr lang="ru-RU" sz="1250" spc="1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1086,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650,5</a:t>
                      </a:r>
                    </a:p>
                  </a:txBody>
                  <a:tcPr marL="68580" marR="68580" marT="0" marB="0"/>
                </a:tc>
              </a:tr>
              <a:tr h="309230">
                <a:tc>
                  <a:txBody>
                    <a:bodyPr/>
                    <a:lstStyle/>
                    <a:p>
                      <a:pPr algn="l">
                        <a:lnSpc>
                          <a:spcPts val="3135"/>
                        </a:lnSpc>
                        <a:spcBef>
                          <a:spcPts val="2100"/>
                        </a:spcBef>
                        <a:spcAft>
                          <a:spcPts val="0"/>
                        </a:spcAft>
                      </a:pPr>
                      <a:r>
                        <a:rPr lang="ru-RU" sz="1200" b="0" i="0" u="none" strike="noStrike" spc="1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9. Поддержка казачьих обществ Константиновского района</a:t>
                      </a:r>
                      <a:endParaRPr lang="ru-RU" sz="1250" spc="1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15678,3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11978,3</a:t>
                      </a:r>
                    </a:p>
                  </a:txBody>
                  <a:tcPr marL="68580" marR="68580" marT="0" marB="0"/>
                </a:tc>
              </a:tr>
              <a:tr h="262319">
                <a:tc>
                  <a:txBody>
                    <a:bodyPr/>
                    <a:lstStyle/>
                    <a:p>
                      <a:pPr algn="l">
                        <a:lnSpc>
                          <a:spcPts val="3135"/>
                        </a:lnSpc>
                        <a:spcBef>
                          <a:spcPts val="2100"/>
                        </a:spcBef>
                        <a:spcAft>
                          <a:spcPts val="0"/>
                        </a:spcAft>
                      </a:pPr>
                      <a:r>
                        <a:rPr lang="ru-RU" sz="1200" b="0" i="0" u="none" strike="noStrike" spc="1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20. Управление муниципальными финансами и создание условий для эффективного управления муниципальными финансами поселений</a:t>
                      </a:r>
                      <a:endParaRPr lang="ru-RU" sz="1250" spc="1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7248,6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7210,4</a:t>
                      </a:r>
                    </a:p>
                  </a:txBody>
                  <a:tcPr marL="68580" marR="68580" marT="0" marB="0"/>
                </a:tc>
              </a:tr>
              <a:tr h="210152">
                <a:tc>
                  <a:txBody>
                    <a:bodyPr/>
                    <a:lstStyle/>
                    <a:p>
                      <a:pPr algn="l">
                        <a:lnSpc>
                          <a:spcPts val="3135"/>
                        </a:lnSpc>
                        <a:spcBef>
                          <a:spcPts val="2100"/>
                        </a:spcBef>
                        <a:spcAft>
                          <a:spcPts val="0"/>
                        </a:spcAft>
                      </a:pPr>
                      <a:r>
                        <a:rPr lang="ru-RU" sz="1200" b="0" i="0" u="none" strike="noStrike" spc="1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21. Формирование законопослушного поведения участников дорожного движения</a:t>
                      </a:r>
                      <a:endParaRPr lang="ru-RU" sz="1250" spc="1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156,3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156,3</a:t>
                      </a: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104495" name="TextBox 1"/>
          <p:cNvSpPr txBox="1">
            <a:spLocks noChangeArrowheads="1"/>
          </p:cNvSpPr>
          <p:nvPr/>
        </p:nvSpPr>
        <p:spPr bwMode="auto">
          <a:xfrm>
            <a:off x="8675688" y="6597650"/>
            <a:ext cx="42545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/>
              <a:t>11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6" name="Нижний колонтитул 2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mtClean="0"/>
              <a:t>1</a:t>
            </a:r>
          </a:p>
        </p:txBody>
      </p:sp>
      <p:graphicFrame>
        <p:nvGraphicFramePr>
          <p:cNvPr id="7" name="Диаграмма 3"/>
          <p:cNvGraphicFramePr>
            <a:graphicFrameLocks/>
          </p:cNvGraphicFramePr>
          <p:nvPr/>
        </p:nvGraphicFramePr>
        <p:xfrm>
          <a:off x="468313" y="1700213"/>
          <a:ext cx="8351837" cy="4608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Блок-схема: процесс 5"/>
          <p:cNvSpPr/>
          <p:nvPr/>
        </p:nvSpPr>
        <p:spPr bwMode="auto">
          <a:xfrm>
            <a:off x="179388" y="476251"/>
            <a:ext cx="8280400" cy="720502"/>
          </a:xfrm>
          <a:prstGeom prst="flowChartProcess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/>
            <a:r>
              <a:rPr lang="ru-RU" sz="1600" b="1" kern="0" dirty="0" smtClean="0">
                <a:solidFill>
                  <a:srgbClr val="000000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Структура</a:t>
            </a:r>
            <a:r>
              <a:rPr lang="en-US" sz="1600" b="1" kern="0" dirty="0" smtClean="0">
                <a:solidFill>
                  <a:srgbClr val="000000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</a:t>
            </a:r>
            <a:r>
              <a:rPr lang="ru-RU" sz="1600" b="1" kern="0" dirty="0" smtClean="0">
                <a:solidFill>
                  <a:srgbClr val="000000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расходов консолидированного бюджета Константиновского района в 2018 году на образование 460292,7 тыс. рублей</a:t>
            </a:r>
          </a:p>
          <a:p>
            <a:r>
              <a:rPr lang="ru-RU" sz="1400" dirty="0" smtClean="0"/>
              <a:t> </a:t>
            </a:r>
          </a:p>
          <a:p>
            <a:pPr algn="ctr" eaLnBrk="1" hangingPunct="1">
              <a:defRPr/>
            </a:pPr>
            <a:endParaRPr lang="ru-RU" sz="1400" dirty="0">
              <a:latin typeface="Arial" panose="020B0604020202020204" pitchFamily="34" charset="0"/>
            </a:endParaRPr>
          </a:p>
        </p:txBody>
      </p:sp>
      <p:sp>
        <p:nvSpPr>
          <p:cNvPr id="118790" name="Номер слайда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D08F1219-32F5-4A0A-8647-7E32D6F252B8}" type="slidenum">
              <a:rPr lang="en-US" altLang="ru-RU"/>
              <a:pPr/>
              <a:t>22</a:t>
            </a:fld>
            <a:endParaRPr lang="en-US" alt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Заголовок 1"/>
          <p:cNvSpPr>
            <a:spLocks noGrp="1"/>
          </p:cNvSpPr>
          <p:nvPr>
            <p:ph type="title"/>
          </p:nvPr>
        </p:nvSpPr>
        <p:spPr>
          <a:xfrm>
            <a:off x="179512" y="620688"/>
            <a:ext cx="8642350" cy="1292662"/>
          </a:xfrm>
        </p:spPr>
        <p:txBody>
          <a:bodyPr/>
          <a:lstStyle/>
          <a:p>
            <a:pPr algn="ctr"/>
            <a:r>
              <a:rPr lang="ru-RU" altLang="ru-RU" sz="2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едоставление услуг в сфере </a:t>
            </a:r>
            <a:r>
              <a:rPr lang="en-US" altLang="ru-RU" sz="2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ru-RU" sz="2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2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разования в 2018 году</a:t>
            </a:r>
            <a:r>
              <a:rPr lang="ru-RU" sz="2800" dirty="0" smtClean="0"/>
              <a:t/>
            </a:r>
            <a:br>
              <a:rPr lang="ru-RU" sz="2800" dirty="0" smtClean="0"/>
            </a:br>
            <a:endParaRPr lang="ru-RU" altLang="ru-RU" sz="28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7763" name="Объект 2"/>
          <p:cNvSpPr>
            <a:spLocks noGrp="1"/>
          </p:cNvSpPr>
          <p:nvPr>
            <p:ph idx="1"/>
          </p:nvPr>
        </p:nvSpPr>
        <p:spPr>
          <a:xfrm>
            <a:off x="683568" y="2492896"/>
            <a:ext cx="7848600" cy="1711238"/>
          </a:xfrm>
        </p:spPr>
        <p:txBody>
          <a:bodyPr/>
          <a:lstStyle/>
          <a:p>
            <a:r>
              <a:rPr lang="ru-RU" altLang="ru-RU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dirty="0" smtClean="0"/>
              <a:t>Услуги дошкольного образования предоставлены  1302 воспитанникам</a:t>
            </a:r>
          </a:p>
          <a:p>
            <a:pPr>
              <a:buNone/>
            </a:pPr>
            <a:endParaRPr lang="ru-RU" sz="2000" dirty="0" smtClean="0"/>
          </a:p>
          <a:p>
            <a:r>
              <a:rPr lang="ru-RU" sz="2000" dirty="0" smtClean="0"/>
              <a:t>       Услуги общего и дополнительного образования предоставлены 3096 обучающимся</a:t>
            </a:r>
          </a:p>
          <a:p>
            <a:pPr indent="0">
              <a:lnSpc>
                <a:spcPct val="80000"/>
              </a:lnSpc>
              <a:tabLst>
                <a:tab pos="2190750" algn="l"/>
              </a:tabLst>
            </a:pPr>
            <a:endParaRPr lang="ru-RU" altLang="ru-RU" sz="1400" dirty="0" smtClean="0"/>
          </a:p>
        </p:txBody>
      </p:sp>
      <p:sp>
        <p:nvSpPr>
          <p:cNvPr id="117764" name="TextBox 3"/>
          <p:cNvSpPr txBox="1">
            <a:spLocks noChangeArrowheads="1"/>
          </p:cNvSpPr>
          <p:nvPr/>
        </p:nvSpPr>
        <p:spPr bwMode="auto">
          <a:xfrm>
            <a:off x="8459788" y="6556375"/>
            <a:ext cx="4413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/>
              <a:t>22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Заголовок 1"/>
          <p:cNvSpPr>
            <a:spLocks noGrp="1"/>
          </p:cNvSpPr>
          <p:nvPr>
            <p:ph type="title"/>
          </p:nvPr>
        </p:nvSpPr>
        <p:spPr>
          <a:xfrm>
            <a:off x="179388" y="404813"/>
            <a:ext cx="8713787" cy="1107996"/>
          </a:xfrm>
        </p:spPr>
        <p:txBody>
          <a:bodyPr/>
          <a:lstStyle/>
          <a:p>
            <a:pPr algn="ctr"/>
            <a:r>
              <a:rPr lang="ru-RU" altLang="ru-RU" sz="2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Динамика расходов консолидированного бюджета Константиновского района на социальную политику</a:t>
            </a:r>
            <a:r>
              <a:rPr lang="ru-RU" sz="2400" dirty="0" smtClean="0"/>
              <a:t/>
            </a:r>
            <a:br>
              <a:rPr lang="ru-RU" sz="2400" dirty="0" smtClean="0"/>
            </a:br>
            <a:endParaRPr lang="ru-RU" altLang="ru-RU" sz="240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5476" name="TextBox 1"/>
          <p:cNvSpPr txBox="1">
            <a:spLocks noChangeArrowheads="1"/>
          </p:cNvSpPr>
          <p:nvPr/>
        </p:nvSpPr>
        <p:spPr bwMode="auto">
          <a:xfrm>
            <a:off x="8591550" y="6602413"/>
            <a:ext cx="4413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/>
              <a:t>12</a:t>
            </a:r>
          </a:p>
        </p:txBody>
      </p:sp>
      <p:graphicFrame>
        <p:nvGraphicFramePr>
          <p:cNvPr id="7" name="Содержимое 6"/>
          <p:cNvGraphicFramePr>
            <a:graphicFrameLocks noGrp="1"/>
          </p:cNvGraphicFramePr>
          <p:nvPr>
            <p:ph idx="1"/>
          </p:nvPr>
        </p:nvGraphicFramePr>
        <p:xfrm>
          <a:off x="125413" y="1298575"/>
          <a:ext cx="8793162" cy="3930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11560" y="5445224"/>
            <a:ext cx="44644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2017 год (факт) – 284172,5 тыс. рублей</a:t>
            </a:r>
          </a:p>
          <a:p>
            <a:r>
              <a:rPr lang="ru-RU" dirty="0" smtClean="0"/>
              <a:t>2018 год (факт) – 311448,2 тыс. рублей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Заголовок 1"/>
          <p:cNvSpPr>
            <a:spLocks noGrp="1"/>
          </p:cNvSpPr>
          <p:nvPr>
            <p:ph type="title"/>
          </p:nvPr>
        </p:nvSpPr>
        <p:spPr>
          <a:xfrm>
            <a:off x="179388" y="404813"/>
            <a:ext cx="8713787" cy="738664"/>
          </a:xfrm>
        </p:spPr>
        <p:txBody>
          <a:bodyPr/>
          <a:lstStyle/>
          <a:p>
            <a:pPr algn="ctr"/>
            <a:r>
              <a:rPr lang="ru-RU" altLang="ru-RU" sz="2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Структура расходов бюджета Константиновского района в 2018 году на социальную политику 311448,2 тыс. рублей</a:t>
            </a:r>
          </a:p>
        </p:txBody>
      </p:sp>
      <p:sp>
        <p:nvSpPr>
          <p:cNvPr id="105476" name="TextBox 1"/>
          <p:cNvSpPr txBox="1">
            <a:spLocks noChangeArrowheads="1"/>
          </p:cNvSpPr>
          <p:nvPr/>
        </p:nvSpPr>
        <p:spPr bwMode="auto">
          <a:xfrm>
            <a:off x="8591550" y="6602413"/>
            <a:ext cx="4413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/>
              <a:t>12</a:t>
            </a:r>
          </a:p>
        </p:txBody>
      </p:sp>
      <p:graphicFrame>
        <p:nvGraphicFramePr>
          <p:cNvPr id="7" name="Содержимое 6"/>
          <p:cNvGraphicFramePr>
            <a:graphicFrameLocks noGrp="1"/>
          </p:cNvGraphicFramePr>
          <p:nvPr>
            <p:ph idx="1"/>
          </p:nvPr>
        </p:nvGraphicFramePr>
        <p:xfrm>
          <a:off x="125413" y="1298575"/>
          <a:ext cx="8793162" cy="3930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Заголовок 1"/>
          <p:cNvSpPr>
            <a:spLocks noGrp="1"/>
          </p:cNvSpPr>
          <p:nvPr>
            <p:ph type="title"/>
          </p:nvPr>
        </p:nvSpPr>
        <p:spPr>
          <a:xfrm>
            <a:off x="179388" y="404813"/>
            <a:ext cx="8713787" cy="1107996"/>
          </a:xfrm>
        </p:spPr>
        <p:txBody>
          <a:bodyPr/>
          <a:lstStyle/>
          <a:p>
            <a:pPr algn="ctr"/>
            <a:r>
              <a:rPr lang="ru-RU" altLang="ru-RU" sz="2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Динамика расходов консолидированного бюджета Константиновского района на культуру, кинематографию </a:t>
            </a:r>
            <a:r>
              <a:rPr lang="en-US" altLang="ru-RU" sz="2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altLang="ru-RU" sz="2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en-US" altLang="ru-RU" sz="2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							</a:t>
            </a:r>
            <a:r>
              <a:rPr lang="ru-RU" alt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(тыс. рублей)</a:t>
            </a:r>
          </a:p>
        </p:txBody>
      </p:sp>
      <p:sp>
        <p:nvSpPr>
          <p:cNvPr id="105476" name="TextBox 1"/>
          <p:cNvSpPr txBox="1">
            <a:spLocks noChangeArrowheads="1"/>
          </p:cNvSpPr>
          <p:nvPr/>
        </p:nvSpPr>
        <p:spPr bwMode="auto">
          <a:xfrm>
            <a:off x="8591550" y="6602413"/>
            <a:ext cx="4413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/>
              <a:t>12</a:t>
            </a:r>
          </a:p>
        </p:txBody>
      </p:sp>
      <p:graphicFrame>
        <p:nvGraphicFramePr>
          <p:cNvPr id="7" name="Содержимое 6"/>
          <p:cNvGraphicFramePr>
            <a:graphicFrameLocks noGrp="1"/>
          </p:cNvGraphicFramePr>
          <p:nvPr>
            <p:ph idx="1"/>
          </p:nvPr>
        </p:nvGraphicFramePr>
        <p:xfrm>
          <a:off x="125413" y="1298575"/>
          <a:ext cx="8793162" cy="3930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Схема 1"/>
          <p:cNvGraphicFramePr/>
          <p:nvPr/>
        </p:nvGraphicFramePr>
        <p:xfrm>
          <a:off x="107504" y="116632"/>
          <a:ext cx="864096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250824" y="1556792"/>
          <a:ext cx="6625432" cy="494554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329288"/>
                <a:gridCol w="1296144"/>
              </a:tblGrid>
              <a:tr h="295777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b="0" dirty="0">
                          <a:latin typeface="Times New Roman"/>
                          <a:ea typeface="Times New Roman"/>
                          <a:cs typeface="Times New Roman"/>
                        </a:rPr>
                        <a:t>Доходы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214229,2</a:t>
                      </a:r>
                      <a:endParaRPr lang="en-US" sz="11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тыс. рублей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7445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b="0" dirty="0">
                          <a:latin typeface="Times New Roman"/>
                          <a:ea typeface="Times New Roman"/>
                          <a:cs typeface="Times New Roman"/>
                        </a:rPr>
                        <a:t>в том числе: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89361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b="0" dirty="0">
                          <a:latin typeface="Times New Roman"/>
                          <a:ea typeface="Times New Roman"/>
                          <a:cs typeface="Times New Roman"/>
                        </a:rPr>
                        <a:t>Акцизы на нефтепродукты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/>
                          <a:ea typeface="Times New Roman"/>
                          <a:cs typeface="Times New Roman"/>
                        </a:rPr>
                        <a:t>7148,7</a:t>
                      </a:r>
                      <a:endParaRPr lang="en-US" sz="1100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тыс. рублей</a:t>
                      </a:r>
                    </a:p>
                  </a:txBody>
                  <a:tcPr marL="68580" marR="68580" marT="0" marB="0"/>
                </a:tc>
              </a:tr>
              <a:tr h="28533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b="0" dirty="0">
                          <a:latin typeface="Times New Roman"/>
                          <a:ea typeface="Times New Roman"/>
                          <a:cs typeface="Times New Roman"/>
                        </a:rPr>
                        <a:t>Межбюджетные трансферты из областного бюджета и бюджетов поселений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204334,6 </a:t>
                      </a:r>
                      <a:endParaRPr lang="en-US" sz="1100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/>
                          <a:ea typeface="Times New Roman"/>
                          <a:cs typeface="Times New Roman"/>
                        </a:rPr>
                        <a:t>тыс</a:t>
                      </a: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. рублей</a:t>
                      </a:r>
                    </a:p>
                  </a:txBody>
                  <a:tcPr marL="68580" marR="68580" marT="0" marB="0"/>
                </a:tc>
              </a:tr>
              <a:tr h="223886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b="0" dirty="0">
                          <a:latin typeface="Times New Roman"/>
                          <a:ea typeface="Times New Roman"/>
                          <a:cs typeface="Times New Roman"/>
                        </a:rPr>
                        <a:t>Прочие поступления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4,0 </a:t>
                      </a:r>
                      <a:endParaRPr lang="en-US" sz="1100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/>
                          <a:ea typeface="Times New Roman"/>
                          <a:cs typeface="Times New Roman"/>
                        </a:rPr>
                        <a:t>тыс</a:t>
                      </a: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. рублей</a:t>
                      </a:r>
                    </a:p>
                  </a:txBody>
                  <a:tcPr marL="68580" marR="68580" marT="0" marB="0"/>
                </a:tc>
              </a:tr>
              <a:tr h="293472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b="0" dirty="0">
                          <a:latin typeface="Times New Roman"/>
                          <a:ea typeface="Times New Roman"/>
                          <a:cs typeface="Times New Roman"/>
                        </a:rPr>
                        <a:t>Остатки на 01.01.2017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2741,9 </a:t>
                      </a:r>
                      <a:endParaRPr lang="en-US" sz="1100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/>
                          <a:ea typeface="Times New Roman"/>
                          <a:cs typeface="Times New Roman"/>
                        </a:rPr>
                        <a:t>тыс</a:t>
                      </a: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. рублей</a:t>
                      </a:r>
                    </a:p>
                  </a:txBody>
                  <a:tcPr marL="68580" marR="68580" marT="0" marB="0"/>
                </a:tc>
              </a:tr>
              <a:tr h="28533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b="0" dirty="0">
                          <a:latin typeface="Times New Roman"/>
                          <a:ea typeface="Times New Roman"/>
                          <a:cs typeface="Times New Roman"/>
                        </a:rPr>
                        <a:t>Расходы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213731,3 </a:t>
                      </a:r>
                      <a:endParaRPr lang="en-US" sz="1100" b="1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тыс</a:t>
                      </a:r>
                      <a:r>
                        <a:rPr lang="ru-RU" sz="1100" b="1" dirty="0">
                          <a:latin typeface="Times New Roman"/>
                          <a:ea typeface="Times New Roman"/>
                          <a:cs typeface="Times New Roman"/>
                        </a:rPr>
                        <a:t>. рублей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7717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b="0" dirty="0">
                          <a:latin typeface="Times New Roman"/>
                          <a:ea typeface="Times New Roman"/>
                          <a:cs typeface="Times New Roman"/>
                        </a:rPr>
                        <a:t>В том числе: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8533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b="0" dirty="0">
                          <a:latin typeface="Times New Roman"/>
                          <a:ea typeface="Times New Roman"/>
                          <a:cs typeface="Times New Roman"/>
                        </a:rPr>
                        <a:t>Ремонт и содержание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/>
                          <a:ea typeface="Times New Roman"/>
                          <a:cs typeface="Times New Roman"/>
                        </a:rPr>
                        <a:t>12062,1</a:t>
                      </a:r>
                      <a:endParaRPr lang="en-US" sz="1100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тыс. рублей</a:t>
                      </a:r>
                    </a:p>
                  </a:txBody>
                  <a:tcPr marL="68580" marR="68580" marT="0" marB="0"/>
                </a:tc>
              </a:tr>
              <a:tr h="207844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b="0" dirty="0">
                          <a:latin typeface="Times New Roman"/>
                          <a:ea typeface="Times New Roman"/>
                          <a:cs typeface="Times New Roman"/>
                        </a:rPr>
                        <a:t>Разработка документации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99,9 тыс. рублей</a:t>
                      </a:r>
                    </a:p>
                  </a:txBody>
                  <a:tcPr marL="68580" marR="68580" marT="0" marB="0"/>
                </a:tc>
              </a:tr>
              <a:tr h="28533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b="0" dirty="0">
                          <a:latin typeface="Times New Roman"/>
                          <a:ea typeface="Times New Roman"/>
                          <a:cs typeface="Times New Roman"/>
                        </a:rPr>
                        <a:t>Капитальный ремонт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93608,2 </a:t>
                      </a:r>
                      <a:endParaRPr lang="en-US" sz="1100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/>
                          <a:ea typeface="Times New Roman"/>
                          <a:cs typeface="Times New Roman"/>
                        </a:rPr>
                        <a:t>тыс</a:t>
                      </a: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. рублей</a:t>
                      </a:r>
                    </a:p>
                  </a:txBody>
                  <a:tcPr marL="68580" marR="68580" marT="0" marB="0"/>
                </a:tc>
              </a:tr>
              <a:tr h="28533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b="0" dirty="0">
                          <a:latin typeface="Times New Roman"/>
                          <a:ea typeface="Times New Roman"/>
                          <a:cs typeface="Times New Roman"/>
                        </a:rPr>
                        <a:t>Предоставление иных межбюджетных трансфертов бюджетам поселений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777,0 </a:t>
                      </a:r>
                      <a:endParaRPr lang="en-US" sz="1100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/>
                          <a:ea typeface="Times New Roman"/>
                          <a:cs typeface="Times New Roman"/>
                        </a:rPr>
                        <a:t>тыс</a:t>
                      </a: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. рублей</a:t>
                      </a:r>
                    </a:p>
                  </a:txBody>
                  <a:tcPr marL="68580" marR="68580" marT="0" marB="0"/>
                </a:tc>
              </a:tr>
              <a:tr h="355986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b="0" dirty="0">
                          <a:latin typeface="Times New Roman"/>
                          <a:ea typeface="Times New Roman"/>
                          <a:cs typeface="Times New Roman"/>
                        </a:rPr>
                        <a:t>Осуществление переданных полномочий организации дорожной деятельности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106135,7 </a:t>
                      </a:r>
                      <a:endParaRPr lang="en-US" sz="1100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/>
                          <a:ea typeface="Times New Roman"/>
                          <a:cs typeface="Times New Roman"/>
                        </a:rPr>
                        <a:t>тыс</a:t>
                      </a: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. рублей</a:t>
                      </a:r>
                    </a:p>
                  </a:txBody>
                  <a:tcPr marL="68580" marR="68580" marT="0" marB="0"/>
                </a:tc>
              </a:tr>
              <a:tr h="28533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b="0" dirty="0">
                          <a:latin typeface="Times New Roman"/>
                          <a:ea typeface="Times New Roman"/>
                          <a:cs typeface="Times New Roman"/>
                        </a:rPr>
                        <a:t>Повышение безопасности дорожного движения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1048,4 </a:t>
                      </a:r>
                      <a:endParaRPr lang="en-US" sz="1100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/>
                          <a:ea typeface="Times New Roman"/>
                          <a:cs typeface="Times New Roman"/>
                        </a:rPr>
                        <a:t>тыс</a:t>
                      </a: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. рублей</a:t>
                      </a:r>
                    </a:p>
                  </a:txBody>
                  <a:tcPr marL="68580" marR="68580" marT="0" marB="0"/>
                </a:tc>
              </a:tr>
              <a:tr h="663151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0" dirty="0">
                          <a:latin typeface="Times New Roman"/>
                          <a:ea typeface="Times New Roman"/>
                          <a:cs typeface="Times New Roman"/>
                        </a:rPr>
                        <a:t>Остатки на 01.01.2019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497,9 </a:t>
                      </a:r>
                      <a:endParaRPr lang="en-US" sz="1100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/>
                          <a:ea typeface="Times New Roman"/>
                          <a:cs typeface="Times New Roman"/>
                        </a:rPr>
                        <a:t>тыс</a:t>
                      </a: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. рублей</a:t>
                      </a: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130086" name="Номер слайда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129588" y="5734050"/>
            <a:ext cx="609600" cy="5207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fld id="{B24A0ADB-532E-461D-AA6C-33B4A4CD5CFA}" type="slidenum">
              <a:rPr lang="ru-RU" altLang="ru-RU"/>
              <a:pPr/>
              <a:t>27</a:t>
            </a:fld>
            <a:endParaRPr lang="ru-RU" altLang="ru-RU"/>
          </a:p>
        </p:txBody>
      </p:sp>
      <p:pic>
        <p:nvPicPr>
          <p:cNvPr id="6" name="Picture 3" descr="O:\Бюджетный\2014\исполнение 2014\РД - отчет об исп бюдж за 2014 год\исполнение за 2014 г по статье 264.6\сопроводительные материалы\Новая папка\img_2706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020272" y="1556792"/>
            <a:ext cx="1944688" cy="1458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>
    <p:wheel spokes="1"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Схема 1"/>
          <p:cNvGraphicFramePr/>
          <p:nvPr/>
        </p:nvGraphicFramePr>
        <p:xfrm>
          <a:off x="755576" y="0"/>
          <a:ext cx="7920880" cy="17728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Овал 4"/>
          <p:cNvSpPr/>
          <p:nvPr/>
        </p:nvSpPr>
        <p:spPr>
          <a:xfrm>
            <a:off x="0" y="1844824"/>
            <a:ext cx="5040313" cy="230346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ru-RU" sz="1200" dirty="0" smtClean="0"/>
              <a:t>Коммунальное хозяйство</a:t>
            </a:r>
          </a:p>
          <a:p>
            <a:pPr algn="ctr"/>
            <a:r>
              <a:rPr lang="ru-RU" sz="1200" dirty="0" smtClean="0"/>
              <a:t>15113,1 тыс. рублей</a:t>
            </a:r>
            <a:endParaRPr lang="ru-RU" sz="1200" dirty="0"/>
          </a:p>
        </p:txBody>
      </p:sp>
      <p:sp>
        <p:nvSpPr>
          <p:cNvPr id="14" name="Овал 13"/>
          <p:cNvSpPr/>
          <p:nvPr/>
        </p:nvSpPr>
        <p:spPr>
          <a:xfrm>
            <a:off x="3491880" y="4005064"/>
            <a:ext cx="4895850" cy="2376264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Arial" pitchFamily="34" charset="0"/>
              </a:rPr>
              <a:t>Другие вопросы в области жилищно-коммунального хозяйства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  <a:latin typeface="Arial" pitchFamily="34" charset="0"/>
              </a:rPr>
              <a:t>28696,0 тыс. рублей</a:t>
            </a:r>
          </a:p>
        </p:txBody>
      </p:sp>
      <p:sp>
        <p:nvSpPr>
          <p:cNvPr id="30" name="Овал 29"/>
          <p:cNvSpPr/>
          <p:nvPr/>
        </p:nvSpPr>
        <p:spPr>
          <a:xfrm>
            <a:off x="5004048" y="1700808"/>
            <a:ext cx="4283968" cy="2304727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Arial" pitchFamily="34" charset="0"/>
              </a:rPr>
              <a:t>Жилищное хозяйство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  <a:latin typeface="Arial" pitchFamily="34" charset="0"/>
              </a:rPr>
              <a:t>170,0 тыс. рублей</a:t>
            </a:r>
          </a:p>
        </p:txBody>
      </p:sp>
      <p:sp>
        <p:nvSpPr>
          <p:cNvPr id="143369" name="Номер слайда 2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129588" y="5734050"/>
            <a:ext cx="609600" cy="5207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fld id="{2E7343C2-67C7-4C7C-94A5-1CBAF7B568B5}" type="slidenum">
              <a:rPr lang="ru-RU" altLang="ru-RU">
                <a:solidFill>
                  <a:schemeClr val="tx1"/>
                </a:solidFill>
              </a:rPr>
              <a:pPr/>
              <a:t>28</a:t>
            </a:fld>
            <a:endParaRPr lang="ru-RU" altLang="ru-RU">
              <a:solidFill>
                <a:schemeClr val="tx1"/>
              </a:solidFill>
            </a:endParaRPr>
          </a:p>
        </p:txBody>
      </p:sp>
      <p:pic>
        <p:nvPicPr>
          <p:cNvPr id="492548" name="Picture 4" descr="http://vedomosti102.ru/uploads/posts/2019-01/thumbs/1548341290_6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79512" y="4149080"/>
            <a:ext cx="3384376" cy="2098315"/>
          </a:xfrm>
          <a:prstGeom prst="rect">
            <a:avLst/>
          </a:prstGeom>
          <a:noFill/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Схема 1"/>
          <p:cNvGraphicFramePr/>
          <p:nvPr/>
        </p:nvGraphicFramePr>
        <p:xfrm>
          <a:off x="755576" y="0"/>
          <a:ext cx="7920880" cy="17728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Овал 4"/>
          <p:cNvSpPr/>
          <p:nvPr/>
        </p:nvSpPr>
        <p:spPr>
          <a:xfrm>
            <a:off x="3708400" y="3068960"/>
            <a:ext cx="5040313" cy="1799903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1200" dirty="0" smtClean="0"/>
              <a:t>Обеспечение жильем молодых семей 7</a:t>
            </a:r>
            <a:r>
              <a:rPr lang="ru-RU" sz="1200" b="1" dirty="0" smtClean="0"/>
              <a:t>097,1 тыс. рублей</a:t>
            </a:r>
            <a:endParaRPr lang="ru-RU" sz="1200" dirty="0" smtClean="0"/>
          </a:p>
          <a:p>
            <a:r>
              <a:rPr lang="ru-RU" sz="1200" b="1" dirty="0" smtClean="0"/>
              <a:t>8 семей</a:t>
            </a:r>
          </a:p>
          <a:p>
            <a:endParaRPr lang="ru-RU" sz="1200" dirty="0" smtClean="0"/>
          </a:p>
          <a:p>
            <a:r>
              <a:rPr lang="ru-RU" sz="1200" dirty="0" smtClean="0"/>
              <a:t>Обеспечение жильем граждан, проживающих в сельской местности </a:t>
            </a:r>
            <a:r>
              <a:rPr lang="ru-RU" sz="1200" b="1" dirty="0" smtClean="0"/>
              <a:t>119,7 тыс. рублей</a:t>
            </a:r>
            <a:endParaRPr lang="ru-RU" sz="1200" dirty="0" smtClean="0"/>
          </a:p>
          <a:p>
            <a:r>
              <a:rPr lang="ru-RU" sz="1200" b="1" dirty="0" smtClean="0"/>
              <a:t>3 получателя</a:t>
            </a:r>
            <a:endParaRPr lang="ru-RU" sz="1200" dirty="0" smtClean="0"/>
          </a:p>
          <a:p>
            <a:endParaRPr lang="ru-RU" sz="1200" dirty="0"/>
          </a:p>
        </p:txBody>
      </p:sp>
      <p:sp>
        <p:nvSpPr>
          <p:cNvPr id="14" name="Овал 13"/>
          <p:cNvSpPr/>
          <p:nvPr/>
        </p:nvSpPr>
        <p:spPr>
          <a:xfrm>
            <a:off x="3779838" y="4868863"/>
            <a:ext cx="4895850" cy="1873250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ru-RU" sz="1200" b="1" dirty="0" smtClean="0">
                <a:solidFill>
                  <a:schemeClr val="tx1"/>
                </a:solidFill>
                <a:latin typeface="Arial" pitchFamily="34" charset="0"/>
              </a:rPr>
              <a:t>Обеспечение жильем ветеранов Великой Отечественной войны 1941-1945 годов и ветеранов боевых действий 3370,9 тыс. рублей</a:t>
            </a:r>
          </a:p>
          <a:p>
            <a:r>
              <a:rPr lang="ru-RU" sz="1200" b="1" dirty="0" smtClean="0">
                <a:solidFill>
                  <a:schemeClr val="tx1"/>
                </a:solidFill>
                <a:latin typeface="Arial" pitchFamily="34" charset="0"/>
              </a:rPr>
              <a:t>3 человека</a:t>
            </a:r>
          </a:p>
          <a:p>
            <a:r>
              <a:rPr lang="ru-RU" sz="1200" dirty="0" smtClean="0"/>
              <a:t> </a:t>
            </a:r>
            <a:endParaRPr lang="ru-RU" sz="1200" dirty="0"/>
          </a:p>
        </p:txBody>
      </p:sp>
      <p:sp>
        <p:nvSpPr>
          <p:cNvPr id="30" name="Овал 29"/>
          <p:cNvSpPr/>
          <p:nvPr/>
        </p:nvSpPr>
        <p:spPr>
          <a:xfrm>
            <a:off x="4427984" y="1484313"/>
            <a:ext cx="4320729" cy="1512639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ru-RU" sz="1200" dirty="0" smtClean="0">
                <a:solidFill>
                  <a:schemeClr val="tx1"/>
                </a:solidFill>
                <a:latin typeface="Arial" pitchFamily="34" charset="0"/>
              </a:rPr>
              <a:t>Обеспечение жилыми помещениями детей-сирот и детей, оставшихся без попечения родителей 14515,0 тыс.рублей</a:t>
            </a:r>
          </a:p>
          <a:p>
            <a:r>
              <a:rPr lang="ru-RU" sz="1200" b="1" dirty="0" smtClean="0">
                <a:solidFill>
                  <a:schemeClr val="tx1"/>
                </a:solidFill>
                <a:latin typeface="Arial" pitchFamily="34" charset="0"/>
              </a:rPr>
              <a:t>17 человек</a:t>
            </a:r>
          </a:p>
        </p:txBody>
      </p:sp>
      <p:sp>
        <p:nvSpPr>
          <p:cNvPr id="143369" name="Номер слайда 2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129588" y="5734050"/>
            <a:ext cx="609600" cy="5207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fld id="{2E7343C2-67C7-4C7C-94A5-1CBAF7B568B5}" type="slidenum">
              <a:rPr lang="ru-RU" altLang="ru-RU">
                <a:solidFill>
                  <a:schemeClr val="tx1"/>
                </a:solidFill>
              </a:rPr>
              <a:pPr/>
              <a:t>29</a:t>
            </a:fld>
            <a:endParaRPr lang="ru-RU" altLang="ru-RU">
              <a:solidFill>
                <a:schemeClr val="tx1"/>
              </a:solidFill>
            </a:endParaRPr>
          </a:p>
        </p:txBody>
      </p:sp>
      <p:pic>
        <p:nvPicPr>
          <p:cNvPr id="516098" name="Picture 2" descr="https://stv24.tv/wp-content/uploads/2018/11/13/6254683340190826-1024x608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67544" y="1844824"/>
            <a:ext cx="2930723" cy="1740117"/>
          </a:xfrm>
          <a:prstGeom prst="rect">
            <a:avLst/>
          </a:prstGeom>
          <a:noFill/>
        </p:spPr>
      </p:pic>
      <p:pic>
        <p:nvPicPr>
          <p:cNvPr id="516100" name="Picture 4" descr="http://penza-post.ru/uploads/KseniyaK/November/04693593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51520" y="3861048"/>
            <a:ext cx="3024336" cy="2382565"/>
          </a:xfrm>
          <a:prstGeom prst="rect">
            <a:avLst/>
          </a:prstGeom>
          <a:noFill/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388" y="188913"/>
            <a:ext cx="8640762" cy="854075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намика доходов  консолидированного бюджета и бюджета Константиновского муниципального района</a:t>
            </a:r>
            <a:br>
              <a:rPr lang="ru-RU" sz="2800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                                               млн. руб. </a:t>
            </a:r>
            <a:r>
              <a:rPr lang="ru-RU" sz="2800" dirty="0" smtClean="0"/>
              <a:t/>
            </a:r>
            <a:br>
              <a:rPr lang="ru-RU" sz="2800" dirty="0" smtClean="0"/>
            </a:br>
            <a:endParaRPr lang="ru-RU" sz="2800" dirty="0">
              <a:solidFill>
                <a:schemeClr val="bg2">
                  <a:lumMod val="1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Объект 3"/>
          <p:cNvGraphicFramePr>
            <a:graphicFrameLocks noGrp="1"/>
          </p:cNvGraphicFramePr>
          <p:nvPr>
            <p:ph idx="1"/>
          </p:nvPr>
        </p:nvGraphicFramePr>
        <p:xfrm>
          <a:off x="323850" y="1042988"/>
          <a:ext cx="8424863" cy="5265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6260" name="TextBox 2"/>
          <p:cNvSpPr txBox="1">
            <a:spLocks noChangeArrowheads="1"/>
          </p:cNvSpPr>
          <p:nvPr/>
        </p:nvSpPr>
        <p:spPr bwMode="auto">
          <a:xfrm>
            <a:off x="8675688" y="6597650"/>
            <a:ext cx="385762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/>
              <a:t>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71252B-EC96-4AB6-A381-959EFD3DAA14}" type="slidenum">
              <a:rPr lang="en-US" altLang="ru-RU" smtClean="0"/>
              <a:pPr/>
              <a:t>30</a:t>
            </a:fld>
            <a:endParaRPr lang="en-US" alt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1</a:t>
            </a:r>
            <a:endParaRPr lang="ru-RU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323530" y="620692"/>
          <a:ext cx="8496941" cy="5832647"/>
        </p:xfrm>
        <a:graphic>
          <a:graphicData uri="http://schemas.openxmlformats.org/drawingml/2006/table">
            <a:tbl>
              <a:tblPr/>
              <a:tblGrid>
                <a:gridCol w="3229977"/>
                <a:gridCol w="438088"/>
                <a:gridCol w="438088"/>
                <a:gridCol w="386112"/>
                <a:gridCol w="465315"/>
                <a:gridCol w="467791"/>
                <a:gridCol w="438088"/>
                <a:gridCol w="438088"/>
                <a:gridCol w="438088"/>
                <a:gridCol w="386112"/>
                <a:gridCol w="465315"/>
                <a:gridCol w="467791"/>
                <a:gridCol w="438088"/>
              </a:tblGrid>
              <a:tr h="152454">
                <a:tc gridSpan="13"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Межбюджетные трансферты поселениям  за  2017-2018 годы</a:t>
                      </a:r>
                    </a:p>
                  </a:txBody>
                  <a:tcPr marL="5443" marR="5443" marT="544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2454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5443" marR="5443" marT="544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5443" marR="5443" marT="544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5443" marR="5443" marT="544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5443" marR="5443" marT="544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5443" marR="5443" marT="544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5443" marR="5443" marT="544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5443" marR="5443" marT="544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5443" marR="5443" marT="544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5443" marR="5443" marT="544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5443" marR="5443" marT="544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5443" marR="5443" marT="544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5443" marR="5443" marT="544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тыс.руб.</a:t>
                      </a:r>
                    </a:p>
                  </a:txBody>
                  <a:tcPr marL="5443" marR="5443" marT="544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454">
                <a:tc rowSpan="3"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latin typeface="Times New Roman"/>
                        </a:rPr>
                        <a:t>Направление</a:t>
                      </a:r>
                    </a:p>
                  </a:txBody>
                  <a:tcPr marL="5443" marR="5443" marT="54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latin typeface="Times New Roman"/>
                        </a:rPr>
                        <a:t>2017</a:t>
                      </a:r>
                    </a:p>
                  </a:txBody>
                  <a:tcPr marL="5443" marR="5443" marT="54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latin typeface="Times New Roman"/>
                        </a:rPr>
                        <a:t>2018</a:t>
                      </a:r>
                    </a:p>
                  </a:txBody>
                  <a:tcPr marL="5443" marR="5443" marT="54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9676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за счет субсидии из областного бюджета</a:t>
                      </a:r>
                    </a:p>
                  </a:txBody>
                  <a:tcPr marL="5443" marR="5443" marT="54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latin typeface="Times New Roman"/>
                        </a:rPr>
                        <a:t>За счет средств бюджета Константиновского района</a:t>
                      </a:r>
                    </a:p>
                  </a:txBody>
                  <a:tcPr marL="5443" marR="5443" marT="54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latin typeface="Times New Roman"/>
                        </a:rPr>
                        <a:t>Итого:</a:t>
                      </a:r>
                    </a:p>
                  </a:txBody>
                  <a:tcPr marL="5443" marR="5443" marT="54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за счет субсидии из областного бюджета</a:t>
                      </a:r>
                    </a:p>
                  </a:txBody>
                  <a:tcPr marL="5443" marR="5443" marT="54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latin typeface="Times New Roman"/>
                        </a:rPr>
                        <a:t>За счет средств бюджета Константиновского района</a:t>
                      </a:r>
                    </a:p>
                  </a:txBody>
                  <a:tcPr marL="5443" marR="5443" marT="54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latin typeface="Times New Roman"/>
                        </a:rPr>
                        <a:t>Итого:</a:t>
                      </a:r>
                    </a:p>
                  </a:txBody>
                  <a:tcPr marL="5443" marR="5443" marT="54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4560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лан</a:t>
                      </a:r>
                    </a:p>
                  </a:txBody>
                  <a:tcPr marL="5443" marR="5443" marT="54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latin typeface="Times New Roman"/>
                        </a:rPr>
                        <a:t>факт</a:t>
                      </a:r>
                    </a:p>
                  </a:txBody>
                  <a:tcPr marL="5443" marR="5443" marT="54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лан</a:t>
                      </a:r>
                    </a:p>
                  </a:txBody>
                  <a:tcPr marL="5443" marR="5443" marT="54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latin typeface="Times New Roman"/>
                        </a:rPr>
                        <a:t>факт</a:t>
                      </a:r>
                    </a:p>
                  </a:txBody>
                  <a:tcPr marL="5443" marR="5443" marT="54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лан</a:t>
                      </a:r>
                    </a:p>
                  </a:txBody>
                  <a:tcPr marL="5443" marR="5443" marT="54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latin typeface="Times New Roman"/>
                        </a:rPr>
                        <a:t>факт</a:t>
                      </a:r>
                    </a:p>
                  </a:txBody>
                  <a:tcPr marL="5443" marR="5443" marT="54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лан</a:t>
                      </a:r>
                    </a:p>
                  </a:txBody>
                  <a:tcPr marL="5443" marR="5443" marT="54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latin typeface="Times New Roman"/>
                        </a:rPr>
                        <a:t>факт</a:t>
                      </a:r>
                    </a:p>
                  </a:txBody>
                  <a:tcPr marL="5443" marR="5443" marT="54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лан</a:t>
                      </a:r>
                    </a:p>
                  </a:txBody>
                  <a:tcPr marL="5443" marR="5443" marT="54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latin typeface="Times New Roman"/>
                        </a:rPr>
                        <a:t>факт</a:t>
                      </a:r>
                    </a:p>
                  </a:txBody>
                  <a:tcPr marL="5443" marR="5443" marT="54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план</a:t>
                      </a:r>
                    </a:p>
                  </a:txBody>
                  <a:tcPr marL="5443" marR="5443" marT="54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>
                          <a:latin typeface="Times New Roman"/>
                        </a:rPr>
                        <a:t>факт</a:t>
                      </a:r>
                    </a:p>
                  </a:txBody>
                  <a:tcPr marL="5443" marR="5443" marT="54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6343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Капитальный ремонт внутригородских  и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latin typeface="Times New Roman"/>
                        </a:rPr>
                        <a:t>внутрипоселковых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дорог и тротуаров </a:t>
                      </a:r>
                    </a:p>
                  </a:txBody>
                  <a:tcPr marL="5443" marR="5443" marT="544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52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5223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3608.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3608.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93608.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93608.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6343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latin typeface="Times New Roman"/>
                        </a:rPr>
                        <a:t>Ремонт и содержание автомобильных дорог общего пользования местного значения </a:t>
                      </a:r>
                    </a:p>
                  </a:txBody>
                  <a:tcPr marL="5443" marR="5443" marT="54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2319.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2201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5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4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13819.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1368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19.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18.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919.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918.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6343">
                <a:tc>
                  <a:txBody>
                    <a:bodyPr/>
                    <a:lstStyle/>
                    <a:p>
                      <a:pPr algn="just" fontAlgn="t"/>
                      <a:r>
                        <a:rPr lang="ru-RU" sz="800" b="0" i="0" u="none" strike="noStrike" dirty="0" err="1">
                          <a:latin typeface="Times New Roman"/>
                        </a:rPr>
                        <a:t>Софинансирование</a:t>
                      </a:r>
                      <a:r>
                        <a:rPr lang="ru-RU" sz="800" b="0" i="0" u="none" strike="noStrike" dirty="0">
                          <a:latin typeface="Times New Roman"/>
                        </a:rPr>
                        <a:t> повышения заработной платы работников муниципальных учреждений культуры</a:t>
                      </a:r>
                    </a:p>
                  </a:txBody>
                  <a:tcPr marL="5443" marR="5443" marT="544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8108.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8108.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8108.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8108.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1468.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1468.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11468.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11468.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28010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 dirty="0">
                          <a:latin typeface="Times New Roman"/>
                        </a:rPr>
                        <a:t>Поддержка отрасли культуры (</a:t>
                      </a:r>
                      <a:r>
                        <a:rPr lang="ru-RU" sz="800" b="0" i="0" u="none" strike="noStrike" dirty="0" err="1">
                          <a:latin typeface="Times New Roman"/>
                        </a:rPr>
                        <a:t>софинансирование</a:t>
                      </a:r>
                      <a:r>
                        <a:rPr lang="ru-RU" sz="800" b="0" i="0" u="none" strike="noStrike" dirty="0">
                          <a:latin typeface="Times New Roman"/>
                        </a:rPr>
                        <a:t> расходов, возникающих при реализации государственных программ субъектов Российской Федерации, на комплексные мероприятия, направленные на создание и модернизацию учреждений </a:t>
                      </a:r>
                      <a:r>
                        <a:rPr lang="ru-RU" sz="800" b="0" i="0" u="none" strike="noStrike" dirty="0" err="1">
                          <a:latin typeface="Times New Roman"/>
                        </a:rPr>
                        <a:t>культурно-досугового</a:t>
                      </a:r>
                      <a:r>
                        <a:rPr lang="ru-RU" sz="800" b="0" i="0" u="none" strike="noStrike" dirty="0">
                          <a:latin typeface="Times New Roman"/>
                        </a:rPr>
                        <a:t> типа в сельской </a:t>
                      </a:r>
                    </a:p>
                  </a:txBody>
                  <a:tcPr marL="5443" marR="5443" marT="5443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3780.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788.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3780.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2788.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6343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latin typeface="Times New Roman"/>
                        </a:rPr>
                        <a:t>Строительство очистных сооружений канализации г. Константиновска Константиновского района Ростовской области</a:t>
                      </a:r>
                    </a:p>
                  </a:txBody>
                  <a:tcPr marL="5443" marR="5443" marT="54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37758.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37758.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79421.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8594.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217180.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166353.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50827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50827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6343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оддержка обустройства мест массового отдыха населения (городских парков)</a:t>
                      </a:r>
                    </a:p>
                  </a:txBody>
                  <a:tcPr marL="5443" marR="5443" marT="54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8031.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7257.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28031.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27257.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454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Капитальный ремонт памятников </a:t>
                      </a:r>
                    </a:p>
                  </a:txBody>
                  <a:tcPr marL="5443" marR="5443" marT="54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4236.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4236.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4236.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4236.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0232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Обеспечение развития и укрепления материально-технической базы домов культуры в населенных пунктах с числом жителей до 50 тысяч человек </a:t>
                      </a:r>
                    </a:p>
                  </a:txBody>
                  <a:tcPr marL="5443" marR="5443" marT="54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730.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729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730.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729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6343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latin typeface="Times New Roman"/>
                        </a:rPr>
                        <a:t>Поощрения членов народных дружин из числа членов казачьих обществ за участие в охране общественного порядка </a:t>
                      </a:r>
                    </a:p>
                  </a:txBody>
                  <a:tcPr marL="5443" marR="5443" marT="54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468.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468.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468.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468.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306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306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306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306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6343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latin typeface="Times New Roman"/>
                        </a:rPr>
                        <a:t>Строительство и реконструкцию внутригородских, </a:t>
                      </a:r>
                      <a:r>
                        <a:rPr lang="ru-RU" sz="800" b="0" i="0" u="none" strike="noStrike" dirty="0" err="1">
                          <a:latin typeface="Times New Roman"/>
                        </a:rPr>
                        <a:t>внутрипоселковых</a:t>
                      </a:r>
                      <a:r>
                        <a:rPr lang="ru-RU" sz="800" b="0" i="0" u="none" strike="noStrike" dirty="0">
                          <a:latin typeface="Times New Roman"/>
                        </a:rPr>
                        <a:t> автомобильных дорог и тротуаров </a:t>
                      </a:r>
                    </a:p>
                  </a:txBody>
                  <a:tcPr marL="5443" marR="5443" marT="5443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7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981.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1758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981.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7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7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777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777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84121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latin typeface="Times New Roman"/>
                        </a:rPr>
                        <a:t>На предоставление бюджету Константиновского городского поселения субсидий муниципальным унитарным предприятиям, осуществляющим деятельность в сфере жилищно-коммунального хозяйства</a:t>
                      </a:r>
                    </a:p>
                  </a:txBody>
                  <a:tcPr marL="5443" marR="5443" marT="54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298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1298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1298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1298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038.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038.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2038.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2038.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454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latin typeface="Times New Roman"/>
                        </a:rPr>
                        <a:t>Резервный фонд</a:t>
                      </a:r>
                    </a:p>
                  </a:txBody>
                  <a:tcPr marL="5443" marR="5443" marT="54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1676.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1397.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1676.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1397.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454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0" u="none" strike="noStrike" dirty="0">
                          <a:latin typeface="Times New Roman"/>
                        </a:rPr>
                        <a:t>Итого:</a:t>
                      </a:r>
                    </a:p>
                  </a:txBody>
                  <a:tcPr marL="5443" marR="5443" marT="54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latin typeface="Times New Roman"/>
                        </a:rPr>
                        <a:t>1671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latin typeface="Times New Roman"/>
                        </a:rPr>
                        <a:t>160856.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latin typeface="Times New Roman"/>
                        </a:rPr>
                        <a:t>86123.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latin typeface="Times New Roman"/>
                        </a:rPr>
                        <a:t>34219.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latin typeface="Times New Roman"/>
                        </a:rPr>
                        <a:t>253312.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latin typeface="Times New Roman"/>
                        </a:rPr>
                        <a:t>195076.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latin typeface="Times New Roman"/>
                        </a:rPr>
                        <a:t>1389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latin typeface="Times New Roman"/>
                        </a:rPr>
                        <a:t>138218.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latin typeface="Times New Roman"/>
                        </a:rPr>
                        <a:t>53948.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latin typeface="Times New Roman"/>
                        </a:rPr>
                        <a:t>3121.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latin typeface="Times New Roman"/>
                        </a:rPr>
                        <a:t>192943.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latin typeface="Times New Roman"/>
                        </a:rPr>
                        <a:t>141340.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6343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latin typeface="Times New Roman"/>
                        </a:rPr>
                        <a:t>Дотаций на выравнивание бюджетной обеспеченности бюджетам поселений</a:t>
                      </a:r>
                    </a:p>
                  </a:txBody>
                  <a:tcPr marL="5443" marR="5443" marT="54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>
                          <a:latin typeface="Times New Roman"/>
                        </a:rPr>
                        <a:t>0.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454"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1" i="0" u="none" strike="noStrike" dirty="0">
                          <a:latin typeface="Times New Roman"/>
                        </a:rPr>
                        <a:t>Всего:</a:t>
                      </a:r>
                    </a:p>
                  </a:txBody>
                  <a:tcPr marL="5443" marR="5443" marT="54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latin typeface="Times New Roman"/>
                        </a:rPr>
                        <a:t>167189.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latin typeface="Times New Roman"/>
                        </a:rPr>
                        <a:t>160856.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latin typeface="Times New Roman"/>
                        </a:rPr>
                        <a:t>86123.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latin typeface="Times New Roman"/>
                        </a:rPr>
                        <a:t>34219.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latin typeface="Times New Roman"/>
                        </a:rPr>
                        <a:t>253312.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latin typeface="Times New Roman"/>
                        </a:rPr>
                        <a:t>195076.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latin typeface="Times New Roman"/>
                        </a:rPr>
                        <a:t>138994.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latin typeface="Times New Roman"/>
                        </a:rPr>
                        <a:t>138218.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latin typeface="Times New Roman"/>
                        </a:rPr>
                        <a:t>53948.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latin typeface="Times New Roman"/>
                        </a:rPr>
                        <a:t>3121.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latin typeface="Times New Roman"/>
                        </a:rPr>
                        <a:t>192943.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latin typeface="Times New Roman"/>
                        </a:rPr>
                        <a:t>141340.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388" y="188913"/>
            <a:ext cx="8640762" cy="854075"/>
          </a:xfrm>
        </p:spPr>
        <p:txBody>
          <a:bodyPr>
            <a:normAutofit/>
          </a:bodyPr>
          <a:lstStyle/>
          <a:p>
            <a:pPr algn="ctr"/>
            <a:r>
              <a:rPr lang="ru-RU" sz="2800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намика</a:t>
            </a:r>
            <a:r>
              <a:rPr lang="ru-RU" sz="2800" dirty="0" smtClean="0"/>
              <a:t> </a:t>
            </a:r>
            <a:r>
              <a:rPr lang="ru-RU" sz="2800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ходов бюджета Константиновского</a:t>
            </a:r>
            <a:br>
              <a:rPr lang="ru-RU" sz="2800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го района в 2017-2018 гг</a:t>
            </a:r>
            <a:r>
              <a:rPr lang="ru-RU" sz="1400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1400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  <a:endParaRPr lang="ru-RU" sz="1400" dirty="0" smtClean="0">
              <a:solidFill>
                <a:schemeClr val="bg2">
                  <a:lumMod val="1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Объект 3"/>
          <p:cNvGraphicFramePr>
            <a:graphicFrameLocks noGrp="1"/>
          </p:cNvGraphicFramePr>
          <p:nvPr>
            <p:ph idx="1"/>
          </p:nvPr>
        </p:nvGraphicFramePr>
        <p:xfrm>
          <a:off x="323850" y="1042988"/>
          <a:ext cx="8424863" cy="5265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6260" name="TextBox 2"/>
          <p:cNvSpPr txBox="1">
            <a:spLocks noChangeArrowheads="1"/>
          </p:cNvSpPr>
          <p:nvPr/>
        </p:nvSpPr>
        <p:spPr bwMode="auto">
          <a:xfrm>
            <a:off x="8675688" y="6597650"/>
            <a:ext cx="385762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/>
              <a:t>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Заголовок 1"/>
          <p:cNvSpPr>
            <a:spLocks noGrp="1"/>
          </p:cNvSpPr>
          <p:nvPr>
            <p:ph type="title"/>
          </p:nvPr>
        </p:nvSpPr>
        <p:spPr>
          <a:xfrm>
            <a:off x="179388" y="188913"/>
            <a:ext cx="8640762" cy="1169551"/>
          </a:xfrm>
        </p:spPr>
        <p:txBody>
          <a:bodyPr/>
          <a:lstStyle/>
          <a:p>
            <a:pPr algn="ctr"/>
            <a:r>
              <a:rPr lang="ru-RU" altLang="ru-RU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инамика налоговых и неналоговых доходов консолидированного бюджета Константиновского района</a:t>
            </a:r>
            <a:r>
              <a:rPr lang="ru-RU" altLang="ru-RU" sz="2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altLang="ru-RU" sz="2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2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                                                              </a:t>
            </a:r>
            <a:r>
              <a:rPr lang="ru-RU" sz="1600" dirty="0" smtClean="0"/>
              <a:t>млн. рублей</a:t>
            </a:r>
            <a:endParaRPr lang="ru-RU" altLang="ru-RU" sz="16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8" name="Объект 3"/>
          <p:cNvGraphicFramePr>
            <a:graphicFrameLocks noGrp="1"/>
          </p:cNvGraphicFramePr>
          <p:nvPr>
            <p:ph idx="1"/>
          </p:nvPr>
        </p:nvGraphicFramePr>
        <p:xfrm>
          <a:off x="0" y="1124744"/>
          <a:ext cx="8496300" cy="4986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1380" name="TextBox 4"/>
          <p:cNvSpPr txBox="1">
            <a:spLocks noChangeArrowheads="1"/>
          </p:cNvSpPr>
          <p:nvPr/>
        </p:nvSpPr>
        <p:spPr bwMode="auto">
          <a:xfrm>
            <a:off x="4067175" y="879475"/>
            <a:ext cx="446563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eaLnBrk="1" hangingPunct="1"/>
            <a:r>
              <a:rPr lang="ru-RU" altLang="ru-RU" dirty="0">
                <a:latin typeface="Times New Roman" pitchFamily="18" charset="0"/>
                <a:cs typeface="Times New Roman" pitchFamily="18" charset="0"/>
              </a:rPr>
              <a:t>        </a:t>
            </a:r>
          </a:p>
        </p:txBody>
      </p:sp>
      <p:sp>
        <p:nvSpPr>
          <p:cNvPr id="6" name="Стрелка вправо 5"/>
          <p:cNvSpPr/>
          <p:nvPr/>
        </p:nvSpPr>
        <p:spPr>
          <a:xfrm rot="20593342">
            <a:off x="1666742" y="3086923"/>
            <a:ext cx="1706405" cy="57777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9.2</a:t>
            </a:r>
            <a:endParaRPr lang="ru-RU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1396" name="TextBox 1"/>
          <p:cNvSpPr txBox="1">
            <a:spLocks noChangeArrowheads="1"/>
          </p:cNvSpPr>
          <p:nvPr/>
        </p:nvSpPr>
        <p:spPr bwMode="auto">
          <a:xfrm>
            <a:off x="8748713" y="6597650"/>
            <a:ext cx="312737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/>
              <a:t>9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Заголовок 1"/>
          <p:cNvSpPr>
            <a:spLocks noGrp="1"/>
          </p:cNvSpPr>
          <p:nvPr>
            <p:ph type="title"/>
          </p:nvPr>
        </p:nvSpPr>
        <p:spPr>
          <a:xfrm>
            <a:off x="179388" y="188913"/>
            <a:ext cx="8640762" cy="1169551"/>
          </a:xfrm>
        </p:spPr>
        <p:txBody>
          <a:bodyPr/>
          <a:lstStyle/>
          <a:p>
            <a:pPr algn="ctr"/>
            <a:r>
              <a:rPr lang="ru-RU" altLang="ru-RU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инамика налоговых и неналоговых доходов Константиновского муниципального</a:t>
            </a:r>
            <a:r>
              <a:rPr lang="ru-RU" sz="2400" dirty="0" smtClean="0"/>
              <a:t> </a:t>
            </a:r>
            <a:r>
              <a:rPr lang="ru-RU" altLang="ru-RU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йона</a:t>
            </a:r>
            <a:r>
              <a:rPr lang="ru-RU" altLang="ru-RU" sz="2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altLang="ru-RU" sz="2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2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                                                              </a:t>
            </a:r>
            <a:r>
              <a:rPr lang="ru-RU" sz="1600" dirty="0" smtClean="0"/>
              <a:t>млн. рублей</a:t>
            </a:r>
            <a:endParaRPr lang="ru-RU" altLang="ru-RU" sz="16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8" name="Объект 3"/>
          <p:cNvGraphicFramePr>
            <a:graphicFrameLocks noGrp="1"/>
          </p:cNvGraphicFramePr>
          <p:nvPr>
            <p:ph idx="1"/>
          </p:nvPr>
        </p:nvGraphicFramePr>
        <p:xfrm>
          <a:off x="0" y="1124744"/>
          <a:ext cx="8496300" cy="4986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1380" name="TextBox 4"/>
          <p:cNvSpPr txBox="1">
            <a:spLocks noChangeArrowheads="1"/>
          </p:cNvSpPr>
          <p:nvPr/>
        </p:nvSpPr>
        <p:spPr bwMode="auto">
          <a:xfrm>
            <a:off x="4067175" y="879475"/>
            <a:ext cx="446563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eaLnBrk="1" hangingPunct="1"/>
            <a:r>
              <a:rPr lang="ru-RU" altLang="ru-RU" dirty="0">
                <a:latin typeface="Times New Roman" pitchFamily="18" charset="0"/>
                <a:cs typeface="Times New Roman" pitchFamily="18" charset="0"/>
              </a:rPr>
              <a:t>        </a:t>
            </a:r>
          </a:p>
        </p:txBody>
      </p:sp>
      <p:sp>
        <p:nvSpPr>
          <p:cNvPr id="6" name="Стрелка вправо 5"/>
          <p:cNvSpPr/>
          <p:nvPr/>
        </p:nvSpPr>
        <p:spPr>
          <a:xfrm rot="20593342">
            <a:off x="3322925" y="2942907"/>
            <a:ext cx="1706405" cy="57777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6.5</a:t>
            </a:r>
            <a:endParaRPr lang="ru-RU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1396" name="TextBox 1"/>
          <p:cNvSpPr txBox="1">
            <a:spLocks noChangeArrowheads="1"/>
          </p:cNvSpPr>
          <p:nvPr/>
        </p:nvSpPr>
        <p:spPr bwMode="auto">
          <a:xfrm>
            <a:off x="8748713" y="6597650"/>
            <a:ext cx="312737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/>
              <a:t>9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950" y="404813"/>
            <a:ext cx="8785225" cy="936625"/>
          </a:xfrm>
        </p:spPr>
        <p:txBody>
          <a:bodyPr>
            <a:normAutofit fontScale="90000"/>
          </a:bodyPr>
          <a:lstStyle/>
          <a:p>
            <a:r>
              <a:rPr lang="ru-RU" sz="2800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уктура налоговых и неналоговых доходов бюджета</a:t>
            </a:r>
            <a:br>
              <a:rPr lang="ru-RU" sz="2800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Константиновского муниципального района за 2018 год </a:t>
            </a: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 smtClean="0"/>
              <a:t>								</a:t>
            </a:r>
            <a:r>
              <a:rPr lang="ru-RU" sz="2800" dirty="0" err="1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лн.руб</a:t>
            </a:r>
            <a:endParaRPr lang="ru-RU" sz="2800" dirty="0" smtClean="0">
              <a:solidFill>
                <a:schemeClr val="bg2">
                  <a:lumMod val="1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Объект 3"/>
          <p:cNvGraphicFramePr>
            <a:graphicFrameLocks noGrp="1"/>
          </p:cNvGraphicFramePr>
          <p:nvPr>
            <p:ph idx="1"/>
          </p:nvPr>
        </p:nvGraphicFramePr>
        <p:xfrm>
          <a:off x="301625" y="1247775"/>
          <a:ext cx="8569325" cy="5111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8308" name="TextBox 2"/>
          <p:cNvSpPr txBox="1">
            <a:spLocks noChangeArrowheads="1"/>
          </p:cNvSpPr>
          <p:nvPr/>
        </p:nvSpPr>
        <p:spPr bwMode="auto">
          <a:xfrm>
            <a:off x="8585200" y="6610350"/>
            <a:ext cx="3143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/>
              <a:t>6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Заголовок 1"/>
          <p:cNvSpPr>
            <a:spLocks noGrp="1"/>
          </p:cNvSpPr>
          <p:nvPr>
            <p:ph type="title"/>
          </p:nvPr>
        </p:nvSpPr>
        <p:spPr>
          <a:xfrm>
            <a:off x="179512" y="548680"/>
            <a:ext cx="8713787" cy="1107996"/>
          </a:xfrm>
        </p:spPr>
        <p:txBody>
          <a:bodyPr/>
          <a:lstStyle/>
          <a:p>
            <a:pPr algn="ctr"/>
            <a:r>
              <a:rPr lang="ru-RU" altLang="ru-RU" sz="2400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инамика поступлений налога на доходы физических лиц в бюджет Константиновского муниципального района</a:t>
            </a:r>
            <a:br>
              <a:rPr lang="ru-RU" altLang="ru-RU" sz="2400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2400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                                                                                млн. рублей</a:t>
            </a:r>
          </a:p>
        </p:txBody>
      </p:sp>
      <p:graphicFrame>
        <p:nvGraphicFramePr>
          <p:cNvPr id="8" name="Объект 3"/>
          <p:cNvGraphicFramePr>
            <a:graphicFrameLocks noGrp="1"/>
          </p:cNvGraphicFramePr>
          <p:nvPr>
            <p:ph idx="1"/>
          </p:nvPr>
        </p:nvGraphicFramePr>
        <p:xfrm>
          <a:off x="1259632" y="1268760"/>
          <a:ext cx="6708775" cy="4895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9575" name="TextBox 3"/>
          <p:cNvSpPr txBox="1">
            <a:spLocks noChangeArrowheads="1"/>
          </p:cNvSpPr>
          <p:nvPr/>
        </p:nvSpPr>
        <p:spPr bwMode="auto">
          <a:xfrm>
            <a:off x="8662988" y="6534150"/>
            <a:ext cx="4413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/>
              <a:t>15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Заголовок 1"/>
          <p:cNvSpPr>
            <a:spLocks noGrp="1"/>
          </p:cNvSpPr>
          <p:nvPr>
            <p:ph type="title"/>
          </p:nvPr>
        </p:nvSpPr>
        <p:spPr>
          <a:xfrm>
            <a:off x="179512" y="548680"/>
            <a:ext cx="8713787" cy="1600438"/>
          </a:xfrm>
        </p:spPr>
        <p:txBody>
          <a:bodyPr/>
          <a:lstStyle/>
          <a:p>
            <a:pPr algn="ctr"/>
            <a:r>
              <a:rPr lang="ru-RU" altLang="ru-RU" sz="2000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инамика поступлений в бюджет Константиновского муниципального района акцизов по подакцизным товарам (продукции), производимым на территории РФ</a:t>
            </a:r>
            <a:br>
              <a:rPr lang="ru-RU" altLang="ru-RU" sz="2000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sz="2000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кцизы на нефтепродукты</a:t>
            </a:r>
            <a:r>
              <a:rPr lang="ru-RU" sz="2400" dirty="0" smtClean="0"/>
              <a:t/>
            </a:r>
            <a:br>
              <a:rPr lang="ru-RU" sz="2400" dirty="0" smtClean="0"/>
            </a:br>
            <a:r>
              <a:rPr lang="ru-RU" altLang="ru-RU" sz="2400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                                                                                млн. рублей</a:t>
            </a:r>
          </a:p>
        </p:txBody>
      </p:sp>
      <p:graphicFrame>
        <p:nvGraphicFramePr>
          <p:cNvPr id="8" name="Объект 3"/>
          <p:cNvGraphicFramePr>
            <a:graphicFrameLocks noGrp="1"/>
          </p:cNvGraphicFramePr>
          <p:nvPr>
            <p:ph idx="1"/>
          </p:nvPr>
        </p:nvGraphicFramePr>
        <p:xfrm>
          <a:off x="1403648" y="1772816"/>
          <a:ext cx="6708775" cy="4895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9575" name="TextBox 3"/>
          <p:cNvSpPr txBox="1">
            <a:spLocks noChangeArrowheads="1"/>
          </p:cNvSpPr>
          <p:nvPr/>
        </p:nvSpPr>
        <p:spPr bwMode="auto">
          <a:xfrm>
            <a:off x="8662988" y="6534150"/>
            <a:ext cx="4413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/>
              <a:t>15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heme/theme1.xml><?xml version="1.0" encoding="utf-8"?>
<a:theme xmlns:a="http://schemas.openxmlformats.org/drawingml/2006/main" name="Universal Template_RU">
  <a:themeElements>
    <a:clrScheme name="Бумажная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Главная">
      <a:majorFont>
        <a:latin typeface="Arial Black"/>
        <a:ea typeface=""/>
        <a:cs typeface=""/>
        <a:font script="Jpan" typeface="ＭＳ Ｐゴシック"/>
        <a:font script="Hang" typeface="HY견고딕"/>
        <a:font script="Hans" typeface="微软雅黑"/>
        <a:font script="Hant" typeface="微軟正黑體"/>
        <a:font script="Arab" typeface="Tahoma"/>
        <a:font script="Hebr" typeface="Ta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40</TotalTime>
  <Words>1464</Words>
  <Application>Microsoft Office PowerPoint</Application>
  <PresentationFormat>Экран (4:3)</PresentationFormat>
  <Paragraphs>556</Paragraphs>
  <Slides>30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0</vt:i4>
      </vt:variant>
      <vt:variant>
        <vt:lpstr>Заголовки слайдов</vt:lpstr>
      </vt:variant>
      <vt:variant>
        <vt:i4>30</vt:i4>
      </vt:variant>
    </vt:vector>
  </HeadingPairs>
  <TitlesOfParts>
    <vt:vector size="31" baseType="lpstr">
      <vt:lpstr>Universal Template_RU</vt:lpstr>
      <vt:lpstr>Отчет об исполнении бюджета муниципального образования Константиновский район за 2018 г</vt:lpstr>
      <vt:lpstr> Основные характеристики бюджета Константиновского района за 2018 год (тыс. руб.)</vt:lpstr>
      <vt:lpstr>Динамика доходов  консолидированного бюджета и бюджета Константиновского муниципального района                                                                                            млн. руб.  </vt:lpstr>
      <vt:lpstr>Динамика доходов бюджета Константиновского муниципального района в 2017-2018 гг. млн. руб.</vt:lpstr>
      <vt:lpstr>Динамика налоговых и неналоговых доходов консолидированного бюджета Константиновского района                                                                    млн. рублей</vt:lpstr>
      <vt:lpstr>Динамика налоговых и неналоговых доходов Константиновского муниципального района                                                                    млн. рублей</vt:lpstr>
      <vt:lpstr>Структура налоговых и неналоговых доходов бюджета  Константиновского муниципального района за 2018 год          млн.руб</vt:lpstr>
      <vt:lpstr>Динамика поступлений налога на доходы физических лиц в бюджет Константиновского муниципального района                                                                                      млн. рублей</vt:lpstr>
      <vt:lpstr>Динамика поступлений в бюджет Константиновского муниципального района акцизов по подакцизным товарам (продукции), производимым на территории РФ Акцизы на нефтепродукты                                                                                      млн. рублей</vt:lpstr>
      <vt:lpstr>Динамика поступлений налогов на совокупный доход в бюджет Константиновского муниципального района       млн. рублей</vt:lpstr>
      <vt:lpstr>Динамика поступлений в бюджет Константиновского муниципального района государственной пошлины       млн. рублей</vt:lpstr>
      <vt:lpstr>Крупные налогоплательщики  Константиновского района</vt:lpstr>
      <vt:lpstr>Безвозмездные поступления из  областного бюджета и бюджетов поселений в 2018 году        тыс. рублей </vt:lpstr>
      <vt:lpstr>Безвозмездные поступления  из областного бюджета и бюджетов поселений        тыс. рублей </vt:lpstr>
      <vt:lpstr> Динамика расходов консолидированного бюджета и бюджета Константиновского района в 2018 году </vt:lpstr>
      <vt:lpstr>Структура расходов консолидированного бюджета Константиновского района в 2017 году    1209798,2 тыс. рублей</vt:lpstr>
      <vt:lpstr>Структура расходов бюджета Константиновского района  в 2018 году    1187766,5 тыс. рублей </vt:lpstr>
      <vt:lpstr>Динамика расходов бюджета Константиновского района в 2017-2018 гг.   </vt:lpstr>
      <vt:lpstr>Доля расходов на реализацию муниципальных программ Константиновского района в общем объеме расходов в 2018 году – 96,2% </vt:lpstr>
      <vt:lpstr>Информация о расходах на реализацию муниципальных программ Константиновского района в 2018 году  </vt:lpstr>
      <vt:lpstr>Слайд 21</vt:lpstr>
      <vt:lpstr>Слайд 22</vt:lpstr>
      <vt:lpstr>Предоставление услуг в сфере  образования в 2018 году </vt:lpstr>
      <vt:lpstr>Динамика расходов консолидированного бюджета Константиновского района на социальную политику </vt:lpstr>
      <vt:lpstr>Структура расходов бюджета Константиновского района в 2018 году на социальную политику 311448,2 тыс. рублей</vt:lpstr>
      <vt:lpstr>Динамика расходов консолидированного бюджета Константиновского района на культуру, кинематографию         (тыс. рублей)</vt:lpstr>
      <vt:lpstr>Слайд 27</vt:lpstr>
      <vt:lpstr>Слайд 28</vt:lpstr>
      <vt:lpstr>Слайд 29</vt:lpstr>
      <vt:lpstr>Слайд 3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ТЧЕТ</dc:title>
  <dc:creator>kazna17</dc:creator>
  <cp:lastModifiedBy>Блинкова Л.Ф.</cp:lastModifiedBy>
  <cp:revision>444</cp:revision>
  <cp:lastPrinted>2015-03-03T06:19:10Z</cp:lastPrinted>
  <dcterms:created xsi:type="dcterms:W3CDTF">2013-03-06T07:09:06Z</dcterms:created>
  <dcterms:modified xsi:type="dcterms:W3CDTF">2020-02-14T12:51:13Z</dcterms:modified>
</cp:coreProperties>
</file>